
<file path=[Content_Types].xml><?xml version="1.0" encoding="utf-8"?>
<Types xmlns="http://schemas.openxmlformats.org/package/2006/content-types"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tags/tag7.xml" ContentType="application/vnd.openxmlformats-officedocument.presentationml.tags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786" r:id="rId2"/>
  </p:sldIdLst>
  <p:sldSz cx="9906000" cy="6858000" type="A4"/>
  <p:notesSz cx="6858000" cy="9926638"/>
  <p:custDataLst>
    <p:tags r:id="rId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4319">
          <p15:clr>
            <a:srgbClr val="A4A3A4"/>
          </p15:clr>
        </p15:guide>
        <p15:guide id="2" orient="horz" pos="1434" userDrawn="1">
          <p15:clr>
            <a:srgbClr val="A4A3A4"/>
          </p15:clr>
        </p15:guide>
        <p15:guide id="3" orient="horz" pos="1997">
          <p15:clr>
            <a:srgbClr val="A4A3A4"/>
          </p15:clr>
        </p15:guide>
        <p15:guide id="4" orient="horz" pos="2784">
          <p15:clr>
            <a:srgbClr val="A4A3A4"/>
          </p15:clr>
        </p15:guide>
        <p15:guide id="5" orient="horz" pos="3288">
          <p15:clr>
            <a:srgbClr val="A4A3A4"/>
          </p15:clr>
        </p15:guide>
        <p15:guide id="6" pos="224">
          <p15:clr>
            <a:srgbClr val="A4A3A4"/>
          </p15:clr>
        </p15:guide>
        <p15:guide id="7" pos="1693">
          <p15:clr>
            <a:srgbClr val="A4A3A4"/>
          </p15:clr>
        </p15:guide>
        <p15:guide id="8" pos="3548">
          <p15:clr>
            <a:srgbClr val="A4A3A4"/>
          </p15:clr>
        </p15:guide>
        <p15:guide id="9" pos="6045">
          <p15:clr>
            <a:srgbClr val="A4A3A4"/>
          </p15:clr>
        </p15:guide>
        <p15:guide id="10" pos="460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7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0"/>
      </p:ext>
    </p:extLst>
  </p:showPr>
  <p:clrMru>
    <a:srgbClr val="FFCC66"/>
    <a:srgbClr val="336699"/>
    <a:srgbClr val="FFFF99"/>
    <a:srgbClr val="FFFFCC"/>
    <a:srgbClr val="1F15EF"/>
    <a:srgbClr val="D6F79B"/>
    <a:srgbClr val="FFCCCC"/>
    <a:srgbClr val="CAF57D"/>
    <a:srgbClr val="91F181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Φωτεινό στυλ 2 - Έμφαση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073A0DAA-6AF3-43AB-8588-CEC1D06C72B9}" styleName="Μεσαίο στυλ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B301B821-A1FF-4177-AEE7-76D212191A09}" styleName="Μεσαίο στυλ 1 - Έμφαση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15" autoAdjust="0"/>
    <p:restoredTop sz="98060" autoAdjust="0"/>
  </p:normalViewPr>
  <p:slideViewPr>
    <p:cSldViewPr snapToGrid="0">
      <p:cViewPr>
        <p:scale>
          <a:sx n="99" d="100"/>
          <a:sy n="99" d="100"/>
        </p:scale>
        <p:origin x="-204" y="-78"/>
      </p:cViewPr>
      <p:guideLst>
        <p:guide orient="horz" pos="4319"/>
        <p:guide orient="horz" pos="1434"/>
        <p:guide orient="horz" pos="1997"/>
        <p:guide orient="horz" pos="2784"/>
        <p:guide orient="horz" pos="3288"/>
        <p:guide pos="224"/>
        <p:guide pos="1693"/>
        <p:guide pos="3548"/>
        <p:guide pos="6045"/>
        <p:guide pos="4601"/>
      </p:guideLst>
    </p:cSldViewPr>
  </p:slideViewPr>
  <p:outlineViewPr>
    <p:cViewPr>
      <p:scale>
        <a:sx n="33" d="100"/>
        <a:sy n="33" d="100"/>
      </p:scale>
      <p:origin x="0" y="171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4674"/>
    </p:cViewPr>
  </p:sorterViewPr>
  <p:notesViewPr>
    <p:cSldViewPr snapToGrid="0">
      <p:cViewPr varScale="1">
        <p:scale>
          <a:sx n="55" d="100"/>
          <a:sy n="55" d="100"/>
        </p:scale>
        <p:origin x="-1771" y="-77"/>
      </p:cViewPr>
      <p:guideLst>
        <p:guide orient="horz" pos="3127"/>
        <p:guide pos="2160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72280" cy="496015"/>
          </a:xfrm>
          <a:prstGeom prst="rect">
            <a:avLst/>
          </a:prstGeom>
        </p:spPr>
        <p:txBody>
          <a:bodyPr vert="horz" lIns="92914" tIns="46460" rIns="92914" bIns="4646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121" y="1"/>
            <a:ext cx="2972280" cy="496015"/>
          </a:xfrm>
          <a:prstGeom prst="rect">
            <a:avLst/>
          </a:prstGeom>
        </p:spPr>
        <p:txBody>
          <a:bodyPr vert="horz" lIns="92914" tIns="46460" rIns="92914" bIns="4646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F8BB2E4-7B1D-454A-A556-DEDF87A33159}" type="datetimeFigureOut">
              <a:rPr lang="en-US"/>
              <a:pPr>
                <a:defRPr/>
              </a:pPr>
              <a:t>6/6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9040"/>
            <a:ext cx="2972280" cy="496015"/>
          </a:xfrm>
          <a:prstGeom prst="rect">
            <a:avLst/>
          </a:prstGeom>
        </p:spPr>
        <p:txBody>
          <a:bodyPr vert="horz" lIns="92914" tIns="46460" rIns="92914" bIns="4646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121" y="9429040"/>
            <a:ext cx="2972280" cy="496015"/>
          </a:xfrm>
          <a:prstGeom prst="rect">
            <a:avLst/>
          </a:prstGeom>
        </p:spPr>
        <p:txBody>
          <a:bodyPr vert="horz" lIns="92914" tIns="46460" rIns="92914" bIns="4646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2610F742-DAFE-4258-AF0A-D8B36E79E68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846795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72280" cy="496015"/>
          </a:xfrm>
          <a:prstGeom prst="rect">
            <a:avLst/>
          </a:prstGeom>
        </p:spPr>
        <p:txBody>
          <a:bodyPr vert="horz" lIns="92914" tIns="46460" rIns="92914" bIns="4646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121" y="1"/>
            <a:ext cx="2972280" cy="496015"/>
          </a:xfrm>
          <a:prstGeom prst="rect">
            <a:avLst/>
          </a:prstGeom>
        </p:spPr>
        <p:txBody>
          <a:bodyPr vert="horz" lIns="92914" tIns="46460" rIns="92914" bIns="4646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A788A3F-64FF-48F8-A234-C09AB9420AB6}" type="datetimeFigureOut">
              <a:rPr lang="en-US"/>
              <a:pPr>
                <a:defRPr/>
              </a:pPr>
              <a:t>6/6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41363" y="744538"/>
            <a:ext cx="5376862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14" tIns="46460" rIns="92914" bIns="46460" rtlCol="0" anchor="ctr"/>
          <a:lstStyle/>
          <a:p>
            <a:pPr lvl="0"/>
            <a:endParaRPr lang="en-US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6281" y="4714519"/>
            <a:ext cx="5485440" cy="4467304"/>
          </a:xfrm>
          <a:prstGeom prst="rect">
            <a:avLst/>
          </a:prstGeom>
        </p:spPr>
        <p:txBody>
          <a:bodyPr vert="horz" lIns="92914" tIns="46460" rIns="92914" bIns="4646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9040"/>
            <a:ext cx="2972280" cy="496015"/>
          </a:xfrm>
          <a:prstGeom prst="rect">
            <a:avLst/>
          </a:prstGeom>
        </p:spPr>
        <p:txBody>
          <a:bodyPr vert="horz" lIns="92914" tIns="46460" rIns="92914" bIns="4646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121" y="9429040"/>
            <a:ext cx="2972280" cy="496015"/>
          </a:xfrm>
          <a:prstGeom prst="rect">
            <a:avLst/>
          </a:prstGeom>
        </p:spPr>
        <p:txBody>
          <a:bodyPr vert="horz" lIns="92914" tIns="46460" rIns="92914" bIns="4646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DEDA0057-B3E7-4C04-B067-0BE87B11E4C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7049155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11.v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41.xml"/><Relationship Id="rId9" Type="http://schemas.openxmlformats.org/officeDocument/2006/relationships/oleObject" Target="../embeddings/oleObject16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10" Type="http://schemas.openxmlformats.org/officeDocument/2006/relationships/oleObject" Target="../embeddings/oleObject5.bin"/><Relationship Id="rId4" Type="http://schemas.openxmlformats.org/officeDocument/2006/relationships/tags" Target="../tags/tag9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6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7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10" Type="http://schemas.openxmlformats.org/officeDocument/2006/relationships/oleObject" Target="../embeddings/oleObject9.bin"/><Relationship Id="rId4" Type="http://schemas.openxmlformats.org/officeDocument/2006/relationships/tags" Target="../tags/tag17.xml"/><Relationship Id="rId9" Type="http://schemas.openxmlformats.org/officeDocument/2006/relationships/oleObject" Target="../embeddings/oleObject8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8.v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23.xml"/><Relationship Id="rId9" Type="http://schemas.openxmlformats.org/officeDocument/2006/relationships/oleObject" Target="../embeddings/oleObject10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9.v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29.xml"/><Relationship Id="rId9" Type="http://schemas.openxmlformats.org/officeDocument/2006/relationships/oleObject" Target="../embeddings/oleObject12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0.vml"/><Relationship Id="rId6" Type="http://schemas.openxmlformats.org/officeDocument/2006/relationships/tags" Target="../tags/tag37.xml"/><Relationship Id="rId5" Type="http://schemas.openxmlformats.org/officeDocument/2006/relationships/tags" Target="../tags/tag36.xml"/><Relationship Id="rId10" Type="http://schemas.openxmlformats.org/officeDocument/2006/relationships/oleObject" Target="../embeddings/oleObject15.bin"/><Relationship Id="rId4" Type="http://schemas.openxmlformats.org/officeDocument/2006/relationships/tags" Target="../tags/tag35.xml"/><Relationship Id="rId9" Type="http://schemas.openxmlformats.org/officeDocument/2006/relationships/oleObject" Target="../embeddings/oleObject1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6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2777" name="think-cell Slide" r:id="rId3" imgW="360" imgH="360" progId="">
              <p:embed/>
            </p:oleObj>
          </a:graphicData>
        </a:graphic>
      </p:graphicFrame>
      <p:sp>
        <p:nvSpPr>
          <p:cNvPr id="6" name="AutoShape 441"/>
          <p:cNvSpPr>
            <a:spLocks noChangeArrowheads="1"/>
          </p:cNvSpPr>
          <p:nvPr userDrawn="1"/>
        </p:nvSpPr>
        <p:spPr bwMode="auto">
          <a:xfrm>
            <a:off x="327025" y="0"/>
            <a:ext cx="6896100" cy="1587500"/>
          </a:xfrm>
          <a:prstGeom prst="roundRect">
            <a:avLst>
              <a:gd name="adj" fmla="val 0"/>
            </a:avLst>
          </a:prstGeom>
          <a:solidFill>
            <a:srgbClr val="D4D8DE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lnSpc>
                <a:spcPct val="90000"/>
              </a:lnSpc>
              <a:spcBef>
                <a:spcPct val="50000"/>
              </a:spcBef>
              <a:defRPr/>
            </a:pPr>
            <a:endParaRPr lang="el-GR" sz="3200">
              <a:latin typeface="Calibri" pitchFamily="34" charset="0"/>
            </a:endParaRPr>
          </a:p>
        </p:txBody>
      </p:sp>
      <p:sp>
        <p:nvSpPr>
          <p:cNvPr id="7" name="AutoShape 441"/>
          <p:cNvSpPr>
            <a:spLocks noChangeArrowheads="1"/>
          </p:cNvSpPr>
          <p:nvPr userDrawn="1"/>
        </p:nvSpPr>
        <p:spPr bwMode="auto">
          <a:xfrm>
            <a:off x="314325" y="1776413"/>
            <a:ext cx="6908800" cy="503237"/>
          </a:xfrm>
          <a:prstGeom prst="roundRect">
            <a:avLst>
              <a:gd name="adj" fmla="val 0"/>
            </a:avLst>
          </a:prstGeom>
          <a:solidFill>
            <a:srgbClr val="D4D8DE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8" name="AutoShape 441"/>
          <p:cNvSpPr>
            <a:spLocks noChangeArrowheads="1"/>
          </p:cNvSpPr>
          <p:nvPr userDrawn="1"/>
        </p:nvSpPr>
        <p:spPr bwMode="auto">
          <a:xfrm>
            <a:off x="0" y="1371600"/>
            <a:ext cx="9906000" cy="557213"/>
          </a:xfrm>
          <a:prstGeom prst="roundRect">
            <a:avLst>
              <a:gd name="adj" fmla="val 0"/>
            </a:avLst>
          </a:prstGeom>
          <a:solidFill>
            <a:srgbClr val="003366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chemeClr val="bg1"/>
              </a:solidFill>
              <a:latin typeface="Calibri" pitchFamily="34" charset="0"/>
            </a:endParaRPr>
          </a:p>
        </p:txBody>
      </p:sp>
      <p:grpSp>
        <p:nvGrpSpPr>
          <p:cNvPr id="9" name="Group 20"/>
          <p:cNvGrpSpPr>
            <a:grpSpLocks/>
          </p:cNvGrpSpPr>
          <p:nvPr userDrawn="1"/>
        </p:nvGrpSpPr>
        <p:grpSpPr bwMode="auto">
          <a:xfrm>
            <a:off x="331788" y="252413"/>
            <a:ext cx="7089775" cy="69850"/>
            <a:chOff x="193" y="158"/>
            <a:chExt cx="3044" cy="33"/>
          </a:xfrm>
        </p:grpSpPr>
        <p:sp>
          <p:nvSpPr>
            <p:cNvPr id="10" name="Line 4"/>
            <p:cNvSpPr>
              <a:spLocks noChangeShapeType="1"/>
            </p:cNvSpPr>
            <p:nvPr/>
          </p:nvSpPr>
          <p:spPr bwMode="auto">
            <a:xfrm>
              <a:off x="193" y="158"/>
              <a:ext cx="3044" cy="0"/>
            </a:xfrm>
            <a:prstGeom prst="line">
              <a:avLst/>
            </a:prstGeom>
            <a:noFill/>
            <a:ln w="285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l-GR"/>
            </a:p>
          </p:txBody>
        </p:sp>
        <p:sp>
          <p:nvSpPr>
            <p:cNvPr id="11" name="Line 9"/>
            <p:cNvSpPr>
              <a:spLocks noChangeShapeType="1"/>
            </p:cNvSpPr>
            <p:nvPr/>
          </p:nvSpPr>
          <p:spPr bwMode="auto">
            <a:xfrm>
              <a:off x="193" y="191"/>
              <a:ext cx="3044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l-GR"/>
            </a:p>
          </p:txBody>
        </p:sp>
      </p:grpSp>
      <p:sp>
        <p:nvSpPr>
          <p:cNvPr id="39" name="Text Placeholder 38"/>
          <p:cNvSpPr>
            <a:spLocks noGrp="1"/>
          </p:cNvSpPr>
          <p:nvPr>
            <p:ph type="body" sz="quarter" idx="13"/>
          </p:nvPr>
        </p:nvSpPr>
        <p:spPr>
          <a:xfrm>
            <a:off x="3699316" y="3599501"/>
            <a:ext cx="5844540" cy="548640"/>
          </a:xfrm>
          <a:ln>
            <a:noFill/>
          </a:ln>
        </p:spPr>
        <p:txBody>
          <a:bodyPr/>
          <a:lstStyle>
            <a:lvl1pPr>
              <a:buNone/>
              <a:defRPr sz="2800" b="1" baseline="0">
                <a:solidFill>
                  <a:srgbClr val="003366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4"/>
          </p:nvPr>
        </p:nvSpPr>
        <p:spPr>
          <a:xfrm>
            <a:off x="314722" y="1417034"/>
            <a:ext cx="4743053" cy="466344"/>
          </a:xfrm>
        </p:spPr>
        <p:txBody>
          <a:bodyPr anchor="ctr"/>
          <a:lstStyle>
            <a:lvl1pPr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5"/>
          </p:nvPr>
        </p:nvSpPr>
        <p:spPr>
          <a:xfrm>
            <a:off x="314722" y="1925830"/>
            <a:ext cx="4743053" cy="350645"/>
          </a:xfrm>
        </p:spPr>
        <p:txBody>
          <a:bodyPr/>
          <a:lstStyle>
            <a:lvl1pPr>
              <a:buNone/>
              <a:defRPr sz="1600" baseline="0">
                <a:solidFill>
                  <a:schemeClr val="tx1"/>
                </a:solidFill>
                <a:latin typeface="Arial"/>
                <a:cs typeface="Arial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1343903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0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2064" name="think-cell Slide" r:id="rId9" imgW="360" imgH="360" progId="">
              <p:embed/>
            </p:oleObj>
          </a:graphicData>
        </a:graphic>
      </p:graphicFrame>
      <p:graphicFrame>
        <p:nvGraphicFramePr>
          <p:cNvPr id="4" name="Object 3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2065" name="think-cell Slide" r:id="rId10" imgW="360" imgH="360" progId="">
              <p:embed/>
            </p:oleObj>
          </a:graphicData>
        </a:graphic>
      </p:graphicFrame>
      <p:sp>
        <p:nvSpPr>
          <p:cNvPr id="5" name="AutoShape 441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25438" y="55563"/>
            <a:ext cx="9329737" cy="560387"/>
          </a:xfrm>
          <a:prstGeom prst="roundRect">
            <a:avLst>
              <a:gd name="adj" fmla="val 0"/>
            </a:avLst>
          </a:prstGeom>
          <a:solidFill>
            <a:srgbClr val="D4D8DE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6" name="AutoShape 44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312738" y="720725"/>
            <a:ext cx="9340850" cy="303213"/>
          </a:xfrm>
          <a:prstGeom prst="roundRect">
            <a:avLst>
              <a:gd name="adj" fmla="val 0"/>
            </a:avLst>
          </a:prstGeom>
          <a:solidFill>
            <a:srgbClr val="D4D8DE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7" name="AutoShape 44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0" y="322263"/>
            <a:ext cx="9906000" cy="509587"/>
          </a:xfrm>
          <a:prstGeom prst="roundRect">
            <a:avLst>
              <a:gd name="adj" fmla="val 0"/>
            </a:avLst>
          </a:prstGeom>
          <a:solidFill>
            <a:srgbClr val="003366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8" name="Text Box 25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5622925" y="17463"/>
            <a:ext cx="4006850" cy="365125"/>
          </a:xfrm>
          <a:prstGeom prst="rect">
            <a:avLst/>
          </a:prstGeom>
          <a:noFill/>
          <a:ln>
            <a:noFill/>
          </a:ln>
          <a:extLst/>
        </p:spPr>
        <p:txBody>
          <a:bodyPr lIns="36000" tIns="36000" rIns="36000" bIns="3600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endParaRPr lang="en-GB" sz="1000" smtClean="0">
              <a:latin typeface="Calibri" pitchFamily="34" charset="0"/>
            </a:endParaRPr>
          </a:p>
        </p:txBody>
      </p:sp>
      <p:sp>
        <p:nvSpPr>
          <p:cNvPr id="9" name="Freeform 8"/>
          <p:cNvSpPr>
            <a:spLocks/>
          </p:cNvSpPr>
          <p:nvPr userDrawn="1">
            <p:custDataLst>
              <p:tags r:id="rId6"/>
            </p:custDataLst>
          </p:nvPr>
        </p:nvSpPr>
        <p:spPr bwMode="auto">
          <a:xfrm>
            <a:off x="392113" y="328613"/>
            <a:ext cx="9513887" cy="493712"/>
          </a:xfrm>
          <a:custGeom>
            <a:avLst/>
            <a:gdLst>
              <a:gd name="T0" fmla="*/ 0 w 5961"/>
              <a:gd name="T1" fmla="*/ 2147483647 h 310"/>
              <a:gd name="T2" fmla="*/ 2147483647 w 5961"/>
              <a:gd name="T3" fmla="*/ 2147483647 h 310"/>
              <a:gd name="T4" fmla="*/ 2147483647 w 5961"/>
              <a:gd name="T5" fmla="*/ 2147483647 h 310"/>
              <a:gd name="T6" fmla="*/ 2147483647 w 5961"/>
              <a:gd name="T7" fmla="*/ 2147483647 h 310"/>
              <a:gd name="T8" fmla="*/ 2147483647 w 5961"/>
              <a:gd name="T9" fmla="*/ 2147483647 h 310"/>
              <a:gd name="T10" fmla="*/ 2147483647 w 5961"/>
              <a:gd name="T11" fmla="*/ 2147483647 h 310"/>
              <a:gd name="T12" fmla="*/ 2147483647 w 5961"/>
              <a:gd name="T13" fmla="*/ 2147483647 h 31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961" h="310">
                <a:moveTo>
                  <a:pt x="0" y="309"/>
                </a:moveTo>
                <a:cubicBezTo>
                  <a:pt x="243" y="174"/>
                  <a:pt x="486" y="39"/>
                  <a:pt x="822" y="39"/>
                </a:cubicBezTo>
                <a:cubicBezTo>
                  <a:pt x="1158" y="39"/>
                  <a:pt x="1596" y="308"/>
                  <a:pt x="2016" y="309"/>
                </a:cubicBezTo>
                <a:cubicBezTo>
                  <a:pt x="2436" y="310"/>
                  <a:pt x="2925" y="49"/>
                  <a:pt x="3342" y="45"/>
                </a:cubicBezTo>
                <a:cubicBezTo>
                  <a:pt x="3759" y="41"/>
                  <a:pt x="4115" y="286"/>
                  <a:pt x="4518" y="285"/>
                </a:cubicBezTo>
                <a:cubicBezTo>
                  <a:pt x="4921" y="284"/>
                  <a:pt x="5559" y="78"/>
                  <a:pt x="5760" y="39"/>
                </a:cubicBezTo>
                <a:cubicBezTo>
                  <a:pt x="5961" y="0"/>
                  <a:pt x="5730" y="49"/>
                  <a:pt x="5724" y="51"/>
                </a:cubicBezTo>
              </a:path>
            </a:pathLst>
          </a:custGeom>
          <a:noFill/>
          <a:ln w="9525">
            <a:noFill/>
            <a:round/>
            <a:headEnd/>
            <a:tailEnd/>
          </a:ln>
          <a:effectLst>
            <a:prstShdw prst="shdw17" dist="17961" dir="13500000">
              <a:srgbClr val="808080"/>
            </a:prstShdw>
          </a:effectLst>
        </p:spPr>
        <p:txBody>
          <a:bodyPr/>
          <a:lstStyle/>
          <a:p>
            <a:pPr>
              <a:defRPr/>
            </a:pPr>
            <a:endParaRPr lang="el-GR"/>
          </a:p>
        </p:txBody>
      </p:sp>
      <p:sp>
        <p:nvSpPr>
          <p:cNvPr id="10" name="Text Box 70"/>
          <p:cNvSpPr txBox="1"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9059863" y="6553200"/>
            <a:ext cx="722312" cy="179388"/>
          </a:xfrm>
          <a:prstGeom prst="rect">
            <a:avLst/>
          </a:prstGeom>
          <a:noFill/>
          <a:ln>
            <a:noFill/>
          </a:ln>
          <a:extLst/>
        </p:spPr>
        <p:txBody>
          <a:bodyPr rIns="540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80000"/>
              </a:lnSpc>
              <a:spcBef>
                <a:spcPct val="50000"/>
              </a:spcBef>
              <a:defRPr/>
            </a:pPr>
            <a:fld id="{0B045A02-E31C-4B31-95EC-0CEE67A921EF}" type="slidenum">
              <a:rPr lang="en-US" sz="700" smtClean="0">
                <a:latin typeface="Calibri" pitchFamily="34" charset="0"/>
              </a:rPr>
              <a:pPr algn="r" eaLnBrk="1" hangingPunct="1">
                <a:lnSpc>
                  <a:spcPct val="80000"/>
                </a:lnSpc>
                <a:spcBef>
                  <a:spcPct val="50000"/>
                </a:spcBef>
                <a:defRPr/>
              </a:pPr>
              <a:t>‹#›</a:t>
            </a:fld>
            <a:endParaRPr lang="en-GB" sz="700" smtClean="0">
              <a:latin typeface="Calibri" pitchFamily="34" charset="0"/>
            </a:endParaRPr>
          </a:p>
        </p:txBody>
      </p:sp>
      <p:sp>
        <p:nvSpPr>
          <p:cNvPr id="31" name="Content Placeholder 30"/>
          <p:cNvSpPr>
            <a:spLocks noGrp="1"/>
          </p:cNvSpPr>
          <p:nvPr>
            <p:ph sz="quarter" idx="10"/>
          </p:nvPr>
        </p:nvSpPr>
        <p:spPr>
          <a:xfrm>
            <a:off x="495300" y="433768"/>
            <a:ext cx="9410700" cy="304800"/>
          </a:xfrm>
        </p:spPr>
        <p:txBody>
          <a:bodyPr anchor="ctr">
            <a:noAutofit/>
          </a:bodyPr>
          <a:lstStyle>
            <a:lvl1pPr marL="0" indent="3175">
              <a:lnSpc>
                <a:spcPts val="1800"/>
              </a:lnSpc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7310788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6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3801" name="think-cell Slide" r:id="rId3" imgW="360" imgH="360" progId="">
              <p:embed/>
            </p:oleObj>
          </a:graphicData>
        </a:graphic>
      </p:graphicFrame>
      <p:sp>
        <p:nvSpPr>
          <p:cNvPr id="3" name="AutoShape 441"/>
          <p:cNvSpPr>
            <a:spLocks noChangeArrowheads="1"/>
          </p:cNvSpPr>
          <p:nvPr userDrawn="1"/>
        </p:nvSpPr>
        <p:spPr bwMode="auto">
          <a:xfrm>
            <a:off x="327025" y="0"/>
            <a:ext cx="4722813" cy="1587500"/>
          </a:xfrm>
          <a:prstGeom prst="roundRect">
            <a:avLst>
              <a:gd name="adj" fmla="val 0"/>
            </a:avLst>
          </a:prstGeom>
          <a:solidFill>
            <a:srgbClr val="D4D8DE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4" name="AutoShape 441"/>
          <p:cNvSpPr>
            <a:spLocks noChangeArrowheads="1"/>
          </p:cNvSpPr>
          <p:nvPr userDrawn="1"/>
        </p:nvSpPr>
        <p:spPr bwMode="auto">
          <a:xfrm>
            <a:off x="314325" y="1776413"/>
            <a:ext cx="4751388" cy="503237"/>
          </a:xfrm>
          <a:prstGeom prst="roundRect">
            <a:avLst>
              <a:gd name="adj" fmla="val 0"/>
            </a:avLst>
          </a:prstGeom>
          <a:solidFill>
            <a:srgbClr val="D4D8DE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5" name="AutoShape 441"/>
          <p:cNvSpPr>
            <a:spLocks noChangeArrowheads="1"/>
          </p:cNvSpPr>
          <p:nvPr userDrawn="1"/>
        </p:nvSpPr>
        <p:spPr bwMode="auto">
          <a:xfrm>
            <a:off x="0" y="1371600"/>
            <a:ext cx="9906000" cy="557213"/>
          </a:xfrm>
          <a:prstGeom prst="roundRect">
            <a:avLst>
              <a:gd name="adj" fmla="val 0"/>
            </a:avLst>
          </a:prstGeom>
          <a:solidFill>
            <a:srgbClr val="003366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331788" y="1435100"/>
            <a:ext cx="5722937" cy="423863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el-GR" sz="2400" smtClean="0">
                <a:solidFill>
                  <a:srgbClr val="FFFFFF"/>
                </a:solidFill>
                <a:latin typeface="Calibri" pitchFamily="34" charset="0"/>
                <a:cs typeface="+mn-cs"/>
              </a:rPr>
              <a:t>Περιεχόμενα</a:t>
            </a:r>
            <a:endParaRPr lang="en-US" sz="2400" smtClean="0">
              <a:solidFill>
                <a:srgbClr val="FFFFFF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7" name="Text Box 2"/>
          <p:cNvSpPr txBox="1">
            <a:spLocks noChangeArrowheads="1"/>
          </p:cNvSpPr>
          <p:nvPr userDrawn="1"/>
        </p:nvSpPr>
        <p:spPr bwMode="auto">
          <a:xfrm>
            <a:off x="331788" y="1941513"/>
            <a:ext cx="3217862" cy="3143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defRPr/>
            </a:pPr>
            <a:endParaRPr lang="el-GR" sz="1600" smtClean="0">
              <a:solidFill>
                <a:srgbClr val="000000"/>
              </a:solidFill>
              <a:latin typeface="Calibri" pitchFamily="34" charset="0"/>
              <a:cs typeface="+mn-cs"/>
            </a:endParaRPr>
          </a:p>
        </p:txBody>
      </p:sp>
      <p:grpSp>
        <p:nvGrpSpPr>
          <p:cNvPr id="8" name="Group 20"/>
          <p:cNvGrpSpPr>
            <a:grpSpLocks/>
          </p:cNvGrpSpPr>
          <p:nvPr userDrawn="1"/>
        </p:nvGrpSpPr>
        <p:grpSpPr bwMode="auto">
          <a:xfrm>
            <a:off x="331788" y="252413"/>
            <a:ext cx="7089775" cy="69850"/>
            <a:chOff x="193" y="158"/>
            <a:chExt cx="3044" cy="33"/>
          </a:xfrm>
        </p:grpSpPr>
        <p:sp>
          <p:nvSpPr>
            <p:cNvPr id="9" name="Line 4"/>
            <p:cNvSpPr>
              <a:spLocks noChangeShapeType="1"/>
            </p:cNvSpPr>
            <p:nvPr/>
          </p:nvSpPr>
          <p:spPr bwMode="auto">
            <a:xfrm>
              <a:off x="193" y="158"/>
              <a:ext cx="3044" cy="0"/>
            </a:xfrm>
            <a:prstGeom prst="line">
              <a:avLst/>
            </a:prstGeom>
            <a:noFill/>
            <a:ln w="285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l-GR"/>
            </a:p>
          </p:txBody>
        </p:sp>
        <p:sp>
          <p:nvSpPr>
            <p:cNvPr id="10" name="Line 9"/>
            <p:cNvSpPr>
              <a:spLocks noChangeShapeType="1"/>
            </p:cNvSpPr>
            <p:nvPr/>
          </p:nvSpPr>
          <p:spPr bwMode="auto">
            <a:xfrm>
              <a:off x="193" y="191"/>
              <a:ext cx="3044" cy="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l-GR"/>
            </a:p>
          </p:txBody>
        </p:sp>
      </p:grpSp>
    </p:spTree>
    <p:extLst>
      <p:ext uri="{BB962C8B-B14F-4D97-AF65-F5344CB8AC3E}">
        <p14:creationId xmlns:p14="http://schemas.microsoft.com/office/powerpoint/2010/main" xmlns="" val="15009706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0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4896" name="think-cell Slide" r:id="rId9" imgW="360" imgH="360" progId="">
              <p:embed/>
            </p:oleObj>
          </a:graphicData>
        </a:graphic>
      </p:graphicFrame>
      <p:graphicFrame>
        <p:nvGraphicFramePr>
          <p:cNvPr id="5" name="Object 3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4897" name="think-cell Slide" r:id="rId10" imgW="360" imgH="360" progId="">
              <p:embed/>
            </p:oleObj>
          </a:graphicData>
        </a:graphic>
      </p:graphicFrame>
      <p:sp>
        <p:nvSpPr>
          <p:cNvPr id="6" name="AutoShape 441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25438" y="55563"/>
            <a:ext cx="9329737" cy="560387"/>
          </a:xfrm>
          <a:prstGeom prst="roundRect">
            <a:avLst>
              <a:gd name="adj" fmla="val 0"/>
            </a:avLst>
          </a:prstGeom>
          <a:solidFill>
            <a:srgbClr val="D4D8DE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7" name="AutoShape 44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312738" y="720725"/>
            <a:ext cx="9340850" cy="552450"/>
          </a:xfrm>
          <a:prstGeom prst="roundRect">
            <a:avLst>
              <a:gd name="adj" fmla="val 0"/>
            </a:avLst>
          </a:prstGeom>
          <a:solidFill>
            <a:srgbClr val="D4D8DE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8" name="AutoShape 44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0" y="322263"/>
            <a:ext cx="9906000" cy="509587"/>
          </a:xfrm>
          <a:prstGeom prst="roundRect">
            <a:avLst>
              <a:gd name="adj" fmla="val 0"/>
            </a:avLst>
          </a:prstGeom>
          <a:solidFill>
            <a:srgbClr val="003366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9" name="Text Box 25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5622925" y="17463"/>
            <a:ext cx="4006850" cy="365125"/>
          </a:xfrm>
          <a:prstGeom prst="rect">
            <a:avLst/>
          </a:prstGeom>
          <a:noFill/>
          <a:ln>
            <a:noFill/>
          </a:ln>
          <a:extLst/>
        </p:spPr>
        <p:txBody>
          <a:bodyPr lIns="36000" tIns="36000" rIns="36000" bIns="3600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endParaRPr lang="en-GB" sz="1000" smtClean="0">
              <a:latin typeface="Calibri" pitchFamily="34" charset="0"/>
            </a:endParaRPr>
          </a:p>
        </p:txBody>
      </p:sp>
      <p:sp>
        <p:nvSpPr>
          <p:cNvPr id="11" name="Freeform 10"/>
          <p:cNvSpPr>
            <a:spLocks/>
          </p:cNvSpPr>
          <p:nvPr userDrawn="1">
            <p:custDataLst>
              <p:tags r:id="rId6"/>
            </p:custDataLst>
          </p:nvPr>
        </p:nvSpPr>
        <p:spPr bwMode="auto">
          <a:xfrm>
            <a:off x="392113" y="328613"/>
            <a:ext cx="9513887" cy="493712"/>
          </a:xfrm>
          <a:custGeom>
            <a:avLst/>
            <a:gdLst>
              <a:gd name="T0" fmla="*/ 0 w 5961"/>
              <a:gd name="T1" fmla="*/ 2147483647 h 310"/>
              <a:gd name="T2" fmla="*/ 2147483647 w 5961"/>
              <a:gd name="T3" fmla="*/ 2147483647 h 310"/>
              <a:gd name="T4" fmla="*/ 2147483647 w 5961"/>
              <a:gd name="T5" fmla="*/ 2147483647 h 310"/>
              <a:gd name="T6" fmla="*/ 2147483647 w 5961"/>
              <a:gd name="T7" fmla="*/ 2147483647 h 310"/>
              <a:gd name="T8" fmla="*/ 2147483647 w 5961"/>
              <a:gd name="T9" fmla="*/ 2147483647 h 310"/>
              <a:gd name="T10" fmla="*/ 2147483647 w 5961"/>
              <a:gd name="T11" fmla="*/ 2147483647 h 310"/>
              <a:gd name="T12" fmla="*/ 2147483647 w 5961"/>
              <a:gd name="T13" fmla="*/ 2147483647 h 31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961" h="310">
                <a:moveTo>
                  <a:pt x="0" y="309"/>
                </a:moveTo>
                <a:cubicBezTo>
                  <a:pt x="243" y="174"/>
                  <a:pt x="486" y="39"/>
                  <a:pt x="822" y="39"/>
                </a:cubicBezTo>
                <a:cubicBezTo>
                  <a:pt x="1158" y="39"/>
                  <a:pt x="1596" y="308"/>
                  <a:pt x="2016" y="309"/>
                </a:cubicBezTo>
                <a:cubicBezTo>
                  <a:pt x="2436" y="310"/>
                  <a:pt x="2925" y="49"/>
                  <a:pt x="3342" y="45"/>
                </a:cubicBezTo>
                <a:cubicBezTo>
                  <a:pt x="3759" y="41"/>
                  <a:pt x="4115" y="286"/>
                  <a:pt x="4518" y="285"/>
                </a:cubicBezTo>
                <a:cubicBezTo>
                  <a:pt x="4921" y="284"/>
                  <a:pt x="5559" y="78"/>
                  <a:pt x="5760" y="39"/>
                </a:cubicBezTo>
                <a:cubicBezTo>
                  <a:pt x="5961" y="0"/>
                  <a:pt x="5730" y="49"/>
                  <a:pt x="5724" y="51"/>
                </a:cubicBezTo>
              </a:path>
            </a:pathLst>
          </a:custGeom>
          <a:noFill/>
          <a:ln w="9525">
            <a:noFill/>
            <a:round/>
            <a:headEnd/>
            <a:tailEnd/>
          </a:ln>
          <a:effectLst>
            <a:prstShdw prst="shdw17" dist="17961" dir="13500000">
              <a:srgbClr val="808080"/>
            </a:prstShdw>
          </a:effectLst>
        </p:spPr>
        <p:txBody>
          <a:bodyPr/>
          <a:lstStyle/>
          <a:p>
            <a:pPr>
              <a:defRPr/>
            </a:pPr>
            <a:endParaRPr lang="el-GR"/>
          </a:p>
        </p:txBody>
      </p:sp>
      <p:sp>
        <p:nvSpPr>
          <p:cNvPr id="12" name="Text Box 70"/>
          <p:cNvSpPr txBox="1"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9059863" y="6553200"/>
            <a:ext cx="722312" cy="179388"/>
          </a:xfrm>
          <a:prstGeom prst="rect">
            <a:avLst/>
          </a:prstGeom>
          <a:noFill/>
          <a:ln>
            <a:noFill/>
          </a:ln>
          <a:extLst/>
        </p:spPr>
        <p:txBody>
          <a:bodyPr rIns="540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80000"/>
              </a:lnSpc>
              <a:spcBef>
                <a:spcPct val="50000"/>
              </a:spcBef>
              <a:defRPr/>
            </a:pPr>
            <a:fld id="{A840ECBC-60E2-4D7C-B33D-6B44A59A2538}" type="slidenum">
              <a:rPr lang="en-US" sz="700" smtClean="0">
                <a:latin typeface="Calibri" pitchFamily="34" charset="0"/>
              </a:rPr>
              <a:pPr algn="r" eaLnBrk="1" hangingPunct="1">
                <a:lnSpc>
                  <a:spcPct val="80000"/>
                </a:lnSpc>
                <a:spcBef>
                  <a:spcPct val="50000"/>
                </a:spcBef>
                <a:defRPr/>
              </a:pPr>
              <a:t>‹#›</a:t>
            </a:fld>
            <a:endParaRPr lang="en-GB" sz="700" dirty="0" smtClean="0">
              <a:latin typeface="Calibri" pitchFamily="34" charset="0"/>
            </a:endParaRPr>
          </a:p>
        </p:txBody>
      </p:sp>
      <p:sp>
        <p:nvSpPr>
          <p:cNvPr id="31" name="Content Placeholder 30"/>
          <p:cNvSpPr>
            <a:spLocks noGrp="1"/>
          </p:cNvSpPr>
          <p:nvPr>
            <p:ph sz="quarter" idx="10"/>
          </p:nvPr>
        </p:nvSpPr>
        <p:spPr>
          <a:xfrm>
            <a:off x="495300" y="433768"/>
            <a:ext cx="9410700" cy="304800"/>
          </a:xfrm>
        </p:spPr>
        <p:txBody>
          <a:bodyPr anchor="ctr">
            <a:noAutofit/>
          </a:bodyPr>
          <a:lstStyle>
            <a:lvl1pPr marL="0" indent="3175">
              <a:lnSpc>
                <a:spcPts val="1800"/>
              </a:lnSpc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0" name="Content Placeholder 30"/>
          <p:cNvSpPr>
            <a:spLocks noGrp="1"/>
          </p:cNvSpPr>
          <p:nvPr>
            <p:ph sz="quarter" idx="11"/>
          </p:nvPr>
        </p:nvSpPr>
        <p:spPr>
          <a:xfrm>
            <a:off x="511773" y="895093"/>
            <a:ext cx="9118002" cy="304800"/>
          </a:xfrm>
        </p:spPr>
        <p:txBody>
          <a:bodyPr anchor="ctr">
            <a:noAutofit/>
          </a:bodyPr>
          <a:lstStyle>
            <a:lvl1pPr marL="0" indent="3175">
              <a:lnSpc>
                <a:spcPts val="1800"/>
              </a:lnSpc>
              <a:buNone/>
              <a:defRPr sz="1800" b="1" i="1" baseline="0">
                <a:solidFill>
                  <a:schemeClr val="tx1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9188350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6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5849" name="think-cell Slide" r:id="rId4" imgW="360" imgH="360" progId="">
              <p:embed/>
            </p:oleObj>
          </a:graphicData>
        </a:graphic>
      </p:graphicFrame>
      <p:sp>
        <p:nvSpPr>
          <p:cNvPr id="3" name="AutoShape 441"/>
          <p:cNvSpPr>
            <a:spLocks noChangeArrowheads="1"/>
          </p:cNvSpPr>
          <p:nvPr userDrawn="1"/>
        </p:nvSpPr>
        <p:spPr bwMode="auto">
          <a:xfrm>
            <a:off x="327025" y="0"/>
            <a:ext cx="4722813" cy="1587500"/>
          </a:xfrm>
          <a:prstGeom prst="roundRect">
            <a:avLst>
              <a:gd name="adj" fmla="val 0"/>
            </a:avLst>
          </a:prstGeom>
          <a:solidFill>
            <a:srgbClr val="D4D8DE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4" name="AutoShape 441"/>
          <p:cNvSpPr>
            <a:spLocks noChangeArrowheads="1"/>
          </p:cNvSpPr>
          <p:nvPr userDrawn="1"/>
        </p:nvSpPr>
        <p:spPr bwMode="auto">
          <a:xfrm>
            <a:off x="314325" y="1776413"/>
            <a:ext cx="4751388" cy="503237"/>
          </a:xfrm>
          <a:prstGeom prst="roundRect">
            <a:avLst>
              <a:gd name="adj" fmla="val 0"/>
            </a:avLst>
          </a:prstGeom>
          <a:solidFill>
            <a:srgbClr val="D4D8DE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5" name="AutoShape 441"/>
          <p:cNvSpPr>
            <a:spLocks noChangeArrowheads="1"/>
          </p:cNvSpPr>
          <p:nvPr userDrawn="1"/>
        </p:nvSpPr>
        <p:spPr bwMode="auto">
          <a:xfrm>
            <a:off x="0" y="1371600"/>
            <a:ext cx="9906000" cy="557213"/>
          </a:xfrm>
          <a:prstGeom prst="roundRect">
            <a:avLst>
              <a:gd name="adj" fmla="val 0"/>
            </a:avLst>
          </a:prstGeom>
          <a:solidFill>
            <a:srgbClr val="003366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6" name="Freeform 12"/>
          <p:cNvSpPr>
            <a:spLocks/>
          </p:cNvSpPr>
          <p:nvPr userDrawn="1"/>
        </p:nvSpPr>
        <p:spPr bwMode="auto">
          <a:xfrm>
            <a:off x="392113" y="90488"/>
            <a:ext cx="9463087" cy="490537"/>
          </a:xfrm>
          <a:custGeom>
            <a:avLst/>
            <a:gdLst>
              <a:gd name="T0" fmla="*/ 0 w 5961"/>
              <a:gd name="T1" fmla="*/ 2147483647 h 310"/>
              <a:gd name="T2" fmla="*/ 2147483647 w 5961"/>
              <a:gd name="T3" fmla="*/ 2147483647 h 310"/>
              <a:gd name="T4" fmla="*/ 2147483647 w 5961"/>
              <a:gd name="T5" fmla="*/ 2147483647 h 310"/>
              <a:gd name="T6" fmla="*/ 2147483647 w 5961"/>
              <a:gd name="T7" fmla="*/ 2147483647 h 310"/>
              <a:gd name="T8" fmla="*/ 2147483647 w 5961"/>
              <a:gd name="T9" fmla="*/ 2147483647 h 310"/>
              <a:gd name="T10" fmla="*/ 2147483647 w 5961"/>
              <a:gd name="T11" fmla="*/ 2147483647 h 310"/>
              <a:gd name="T12" fmla="*/ 2147483647 w 5961"/>
              <a:gd name="T13" fmla="*/ 2147483647 h 31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961"/>
              <a:gd name="T22" fmla="*/ 0 h 310"/>
              <a:gd name="T23" fmla="*/ 5961 w 5961"/>
              <a:gd name="T24" fmla="*/ 310 h 31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961" h="310">
                <a:moveTo>
                  <a:pt x="0" y="309"/>
                </a:moveTo>
                <a:cubicBezTo>
                  <a:pt x="243" y="174"/>
                  <a:pt x="486" y="39"/>
                  <a:pt x="822" y="39"/>
                </a:cubicBezTo>
                <a:cubicBezTo>
                  <a:pt x="1158" y="39"/>
                  <a:pt x="1596" y="308"/>
                  <a:pt x="2016" y="309"/>
                </a:cubicBezTo>
                <a:cubicBezTo>
                  <a:pt x="2436" y="310"/>
                  <a:pt x="2925" y="49"/>
                  <a:pt x="3342" y="45"/>
                </a:cubicBezTo>
                <a:cubicBezTo>
                  <a:pt x="3759" y="41"/>
                  <a:pt x="4115" y="286"/>
                  <a:pt x="4518" y="285"/>
                </a:cubicBezTo>
                <a:cubicBezTo>
                  <a:pt x="4921" y="284"/>
                  <a:pt x="5559" y="78"/>
                  <a:pt x="5760" y="39"/>
                </a:cubicBezTo>
                <a:cubicBezTo>
                  <a:pt x="5961" y="0"/>
                  <a:pt x="5730" y="49"/>
                  <a:pt x="5724" y="51"/>
                </a:cubicBezTo>
              </a:path>
            </a:pathLst>
          </a:custGeom>
          <a:noFill/>
          <a:ln w="9525">
            <a:noFill/>
            <a:round/>
            <a:headEnd/>
            <a:tailEnd/>
          </a:ln>
          <a:effectLst>
            <a:prstShdw prst="shdw17" dist="17961" dir="13500000">
              <a:srgbClr val="808080"/>
            </a:prstShdw>
          </a:effectLst>
        </p:spPr>
        <p:txBody>
          <a:bodyPr/>
          <a:lstStyle/>
          <a:p>
            <a:pPr>
              <a:defRPr/>
            </a:pPr>
            <a:endParaRPr lang="el-GR"/>
          </a:p>
        </p:txBody>
      </p:sp>
      <p:sp>
        <p:nvSpPr>
          <p:cNvPr id="7" name="Text Box 2"/>
          <p:cNvSpPr txBox="1">
            <a:spLocks noChangeArrowheads="1"/>
          </p:cNvSpPr>
          <p:nvPr userDrawn="1"/>
        </p:nvSpPr>
        <p:spPr bwMode="auto">
          <a:xfrm>
            <a:off x="331788" y="1941513"/>
            <a:ext cx="3217862" cy="3143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defRPr/>
            </a:pPr>
            <a:endParaRPr lang="el-GR" sz="1600" smtClean="0">
              <a:solidFill>
                <a:srgbClr val="000000"/>
              </a:solidFill>
              <a:latin typeface="Calibri" pitchFamily="34" charset="0"/>
              <a:cs typeface="+mn-cs"/>
            </a:endParaRPr>
          </a:p>
        </p:txBody>
      </p:sp>
      <p:grpSp>
        <p:nvGrpSpPr>
          <p:cNvPr id="8" name="Group 20"/>
          <p:cNvGrpSpPr>
            <a:grpSpLocks/>
          </p:cNvGrpSpPr>
          <p:nvPr userDrawn="1"/>
        </p:nvGrpSpPr>
        <p:grpSpPr bwMode="auto">
          <a:xfrm>
            <a:off x="331788" y="252413"/>
            <a:ext cx="7089775" cy="69850"/>
            <a:chOff x="193" y="158"/>
            <a:chExt cx="3044" cy="33"/>
          </a:xfrm>
        </p:grpSpPr>
        <p:sp>
          <p:nvSpPr>
            <p:cNvPr id="9" name="Line 4"/>
            <p:cNvSpPr>
              <a:spLocks noChangeShapeType="1"/>
            </p:cNvSpPr>
            <p:nvPr/>
          </p:nvSpPr>
          <p:spPr bwMode="auto">
            <a:xfrm>
              <a:off x="193" y="158"/>
              <a:ext cx="3044" cy="0"/>
            </a:xfrm>
            <a:prstGeom prst="line">
              <a:avLst/>
            </a:prstGeom>
            <a:noFill/>
            <a:ln w="285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l-GR"/>
            </a:p>
          </p:txBody>
        </p:sp>
        <p:sp>
          <p:nvSpPr>
            <p:cNvPr id="10" name="Line 9"/>
            <p:cNvSpPr>
              <a:spLocks noChangeShapeType="1"/>
            </p:cNvSpPr>
            <p:nvPr/>
          </p:nvSpPr>
          <p:spPr bwMode="auto">
            <a:xfrm>
              <a:off x="193" y="191"/>
              <a:ext cx="3044" cy="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l-GR"/>
            </a:p>
          </p:txBody>
        </p:sp>
      </p:grpSp>
      <p:sp>
        <p:nvSpPr>
          <p:cNvPr id="11" name="Text Box 70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9059863" y="6553200"/>
            <a:ext cx="722312" cy="179388"/>
          </a:xfrm>
          <a:prstGeom prst="rect">
            <a:avLst/>
          </a:prstGeom>
          <a:noFill/>
          <a:ln>
            <a:noFill/>
          </a:ln>
          <a:extLst/>
        </p:spPr>
        <p:txBody>
          <a:bodyPr rIns="540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80000"/>
              </a:lnSpc>
              <a:spcBef>
                <a:spcPct val="50000"/>
              </a:spcBef>
              <a:defRPr/>
            </a:pPr>
            <a:fld id="{1E5D2343-2406-482F-9E4A-31DF5D1E6F54}" type="slidenum">
              <a:rPr lang="en-US" sz="700" smtClean="0">
                <a:latin typeface="Calibri" pitchFamily="34" charset="0"/>
              </a:rPr>
              <a:pPr algn="r" eaLnBrk="1" hangingPunct="1">
                <a:lnSpc>
                  <a:spcPct val="80000"/>
                </a:lnSpc>
                <a:spcBef>
                  <a:spcPct val="50000"/>
                </a:spcBef>
                <a:defRPr/>
              </a:pPr>
              <a:t>‹#›</a:t>
            </a:fld>
            <a:endParaRPr lang="en-GB" sz="700" dirty="0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000707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6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6873" name="think-cell Slide" r:id="rId4" imgW="360" imgH="360" progId="">
              <p:embed/>
            </p:oleObj>
          </a:graphicData>
        </a:graphic>
      </p:graphicFrame>
      <p:sp>
        <p:nvSpPr>
          <p:cNvPr id="3" name="AutoShape 441"/>
          <p:cNvSpPr>
            <a:spLocks noChangeArrowheads="1"/>
          </p:cNvSpPr>
          <p:nvPr userDrawn="1"/>
        </p:nvSpPr>
        <p:spPr bwMode="auto">
          <a:xfrm>
            <a:off x="327025" y="0"/>
            <a:ext cx="4722813" cy="1587500"/>
          </a:xfrm>
          <a:prstGeom prst="roundRect">
            <a:avLst>
              <a:gd name="adj" fmla="val 0"/>
            </a:avLst>
          </a:prstGeom>
          <a:solidFill>
            <a:srgbClr val="D4D8DE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4" name="AutoShape 441"/>
          <p:cNvSpPr>
            <a:spLocks noChangeArrowheads="1"/>
          </p:cNvSpPr>
          <p:nvPr userDrawn="1"/>
        </p:nvSpPr>
        <p:spPr bwMode="auto">
          <a:xfrm>
            <a:off x="314325" y="1776413"/>
            <a:ext cx="4751388" cy="503237"/>
          </a:xfrm>
          <a:prstGeom prst="roundRect">
            <a:avLst>
              <a:gd name="adj" fmla="val 0"/>
            </a:avLst>
          </a:prstGeom>
          <a:solidFill>
            <a:srgbClr val="D4D8DE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5" name="AutoShape 441"/>
          <p:cNvSpPr>
            <a:spLocks noChangeArrowheads="1"/>
          </p:cNvSpPr>
          <p:nvPr userDrawn="1"/>
        </p:nvSpPr>
        <p:spPr bwMode="auto">
          <a:xfrm>
            <a:off x="0" y="1371600"/>
            <a:ext cx="9906000" cy="557213"/>
          </a:xfrm>
          <a:prstGeom prst="roundRect">
            <a:avLst>
              <a:gd name="adj" fmla="val 0"/>
            </a:avLst>
          </a:prstGeom>
          <a:solidFill>
            <a:srgbClr val="003366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6" name="Freeform 12"/>
          <p:cNvSpPr>
            <a:spLocks/>
          </p:cNvSpPr>
          <p:nvPr userDrawn="1"/>
        </p:nvSpPr>
        <p:spPr bwMode="auto">
          <a:xfrm>
            <a:off x="392113" y="90488"/>
            <a:ext cx="9463087" cy="490537"/>
          </a:xfrm>
          <a:custGeom>
            <a:avLst/>
            <a:gdLst>
              <a:gd name="T0" fmla="*/ 0 w 5961"/>
              <a:gd name="T1" fmla="*/ 2147483647 h 310"/>
              <a:gd name="T2" fmla="*/ 2147483647 w 5961"/>
              <a:gd name="T3" fmla="*/ 2147483647 h 310"/>
              <a:gd name="T4" fmla="*/ 2147483647 w 5961"/>
              <a:gd name="T5" fmla="*/ 2147483647 h 310"/>
              <a:gd name="T6" fmla="*/ 2147483647 w 5961"/>
              <a:gd name="T7" fmla="*/ 2147483647 h 310"/>
              <a:gd name="T8" fmla="*/ 2147483647 w 5961"/>
              <a:gd name="T9" fmla="*/ 2147483647 h 310"/>
              <a:gd name="T10" fmla="*/ 2147483647 w 5961"/>
              <a:gd name="T11" fmla="*/ 2147483647 h 310"/>
              <a:gd name="T12" fmla="*/ 2147483647 w 5961"/>
              <a:gd name="T13" fmla="*/ 2147483647 h 31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961"/>
              <a:gd name="T22" fmla="*/ 0 h 310"/>
              <a:gd name="T23" fmla="*/ 5961 w 5961"/>
              <a:gd name="T24" fmla="*/ 310 h 31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961" h="310">
                <a:moveTo>
                  <a:pt x="0" y="309"/>
                </a:moveTo>
                <a:cubicBezTo>
                  <a:pt x="243" y="174"/>
                  <a:pt x="486" y="39"/>
                  <a:pt x="822" y="39"/>
                </a:cubicBezTo>
                <a:cubicBezTo>
                  <a:pt x="1158" y="39"/>
                  <a:pt x="1596" y="308"/>
                  <a:pt x="2016" y="309"/>
                </a:cubicBezTo>
                <a:cubicBezTo>
                  <a:pt x="2436" y="310"/>
                  <a:pt x="2925" y="49"/>
                  <a:pt x="3342" y="45"/>
                </a:cubicBezTo>
                <a:cubicBezTo>
                  <a:pt x="3759" y="41"/>
                  <a:pt x="4115" y="286"/>
                  <a:pt x="4518" y="285"/>
                </a:cubicBezTo>
                <a:cubicBezTo>
                  <a:pt x="4921" y="284"/>
                  <a:pt x="5559" y="78"/>
                  <a:pt x="5760" y="39"/>
                </a:cubicBezTo>
                <a:cubicBezTo>
                  <a:pt x="5961" y="0"/>
                  <a:pt x="5730" y="49"/>
                  <a:pt x="5724" y="51"/>
                </a:cubicBezTo>
              </a:path>
            </a:pathLst>
          </a:custGeom>
          <a:noFill/>
          <a:ln w="9525">
            <a:noFill/>
            <a:round/>
            <a:headEnd/>
            <a:tailEnd/>
          </a:ln>
          <a:effectLst>
            <a:prstShdw prst="shdw17" dist="17961" dir="13500000">
              <a:srgbClr val="808080"/>
            </a:prstShdw>
          </a:effectLst>
        </p:spPr>
        <p:txBody>
          <a:bodyPr/>
          <a:lstStyle/>
          <a:p>
            <a:pPr>
              <a:defRPr/>
            </a:pPr>
            <a:endParaRPr lang="el-GR"/>
          </a:p>
        </p:txBody>
      </p:sp>
      <p:sp>
        <p:nvSpPr>
          <p:cNvPr id="7" name="Text Box 2"/>
          <p:cNvSpPr txBox="1">
            <a:spLocks noChangeArrowheads="1"/>
          </p:cNvSpPr>
          <p:nvPr userDrawn="1"/>
        </p:nvSpPr>
        <p:spPr bwMode="auto">
          <a:xfrm>
            <a:off x="331788" y="1941513"/>
            <a:ext cx="3217862" cy="3143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defRPr/>
            </a:pPr>
            <a:endParaRPr lang="el-GR" sz="1600" smtClean="0">
              <a:solidFill>
                <a:srgbClr val="000000"/>
              </a:solidFill>
              <a:latin typeface="Calibri" pitchFamily="34" charset="0"/>
              <a:cs typeface="+mn-cs"/>
            </a:endParaRPr>
          </a:p>
        </p:txBody>
      </p:sp>
      <p:grpSp>
        <p:nvGrpSpPr>
          <p:cNvPr id="8" name="Group 20"/>
          <p:cNvGrpSpPr>
            <a:grpSpLocks/>
          </p:cNvGrpSpPr>
          <p:nvPr userDrawn="1"/>
        </p:nvGrpSpPr>
        <p:grpSpPr bwMode="auto">
          <a:xfrm>
            <a:off x="331788" y="252413"/>
            <a:ext cx="7089775" cy="69850"/>
            <a:chOff x="193" y="158"/>
            <a:chExt cx="3044" cy="33"/>
          </a:xfrm>
        </p:grpSpPr>
        <p:sp>
          <p:nvSpPr>
            <p:cNvPr id="9" name="Line 4"/>
            <p:cNvSpPr>
              <a:spLocks noChangeShapeType="1"/>
            </p:cNvSpPr>
            <p:nvPr/>
          </p:nvSpPr>
          <p:spPr bwMode="auto">
            <a:xfrm>
              <a:off x="193" y="158"/>
              <a:ext cx="3044" cy="0"/>
            </a:xfrm>
            <a:prstGeom prst="line">
              <a:avLst/>
            </a:prstGeom>
            <a:noFill/>
            <a:ln w="285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l-GR"/>
            </a:p>
          </p:txBody>
        </p:sp>
        <p:sp>
          <p:nvSpPr>
            <p:cNvPr id="10" name="Line 9"/>
            <p:cNvSpPr>
              <a:spLocks noChangeShapeType="1"/>
            </p:cNvSpPr>
            <p:nvPr/>
          </p:nvSpPr>
          <p:spPr bwMode="auto">
            <a:xfrm>
              <a:off x="193" y="191"/>
              <a:ext cx="3044" cy="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l-GR"/>
            </a:p>
          </p:txBody>
        </p:sp>
      </p:grpSp>
      <p:sp>
        <p:nvSpPr>
          <p:cNvPr id="11" name="Text Box 70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9059863" y="6553200"/>
            <a:ext cx="722312" cy="179388"/>
          </a:xfrm>
          <a:prstGeom prst="rect">
            <a:avLst/>
          </a:prstGeom>
          <a:noFill/>
          <a:ln>
            <a:noFill/>
          </a:ln>
          <a:extLst/>
        </p:spPr>
        <p:txBody>
          <a:bodyPr rIns="540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80000"/>
              </a:lnSpc>
              <a:spcBef>
                <a:spcPct val="50000"/>
              </a:spcBef>
              <a:defRPr/>
            </a:pPr>
            <a:fld id="{4D783C19-6B61-4335-B52B-E50E7B52005D}" type="slidenum">
              <a:rPr lang="en-US" sz="700" smtClean="0">
                <a:latin typeface="Calibri" pitchFamily="34" charset="0"/>
              </a:rPr>
              <a:pPr algn="r" eaLnBrk="1" hangingPunct="1">
                <a:lnSpc>
                  <a:spcPct val="80000"/>
                </a:lnSpc>
                <a:spcBef>
                  <a:spcPct val="50000"/>
                </a:spcBef>
                <a:defRPr/>
              </a:pPr>
              <a:t>‹#›</a:t>
            </a:fld>
            <a:endParaRPr lang="en-GB" sz="700" dirty="0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6558044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0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7968" name="think-cell Slide" r:id="rId9" imgW="360" imgH="360" progId="">
              <p:embed/>
            </p:oleObj>
          </a:graphicData>
        </a:graphic>
      </p:graphicFrame>
      <p:graphicFrame>
        <p:nvGraphicFramePr>
          <p:cNvPr id="4" name="Object 3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7969" name="think-cell Slide" r:id="rId10" imgW="360" imgH="360" progId="">
              <p:embed/>
            </p:oleObj>
          </a:graphicData>
        </a:graphic>
      </p:graphicFrame>
      <p:sp>
        <p:nvSpPr>
          <p:cNvPr id="5" name="AutoShape 441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25438" y="55563"/>
            <a:ext cx="9329737" cy="560387"/>
          </a:xfrm>
          <a:prstGeom prst="roundRect">
            <a:avLst>
              <a:gd name="adj" fmla="val 0"/>
            </a:avLst>
          </a:prstGeom>
          <a:solidFill>
            <a:srgbClr val="D4D8DE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6" name="AutoShape 44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312738" y="720725"/>
            <a:ext cx="9340850" cy="303213"/>
          </a:xfrm>
          <a:prstGeom prst="roundRect">
            <a:avLst>
              <a:gd name="adj" fmla="val 0"/>
            </a:avLst>
          </a:prstGeom>
          <a:solidFill>
            <a:srgbClr val="D4D8DE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7" name="AutoShape 44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0" y="322263"/>
            <a:ext cx="9906000" cy="509587"/>
          </a:xfrm>
          <a:prstGeom prst="roundRect">
            <a:avLst>
              <a:gd name="adj" fmla="val 0"/>
            </a:avLst>
          </a:prstGeom>
          <a:solidFill>
            <a:srgbClr val="003366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8" name="Text Box 25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5622925" y="17463"/>
            <a:ext cx="4006850" cy="365125"/>
          </a:xfrm>
          <a:prstGeom prst="rect">
            <a:avLst/>
          </a:prstGeom>
          <a:noFill/>
          <a:ln>
            <a:noFill/>
          </a:ln>
          <a:extLst/>
        </p:spPr>
        <p:txBody>
          <a:bodyPr lIns="36000" tIns="36000" rIns="36000" bIns="3600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endParaRPr lang="en-GB" sz="1000" smtClean="0">
              <a:latin typeface="Calibri" pitchFamily="34" charset="0"/>
            </a:endParaRPr>
          </a:p>
        </p:txBody>
      </p:sp>
      <p:sp>
        <p:nvSpPr>
          <p:cNvPr id="9" name="Freeform 8"/>
          <p:cNvSpPr>
            <a:spLocks/>
          </p:cNvSpPr>
          <p:nvPr userDrawn="1">
            <p:custDataLst>
              <p:tags r:id="rId6"/>
            </p:custDataLst>
          </p:nvPr>
        </p:nvSpPr>
        <p:spPr bwMode="auto">
          <a:xfrm>
            <a:off x="392113" y="328613"/>
            <a:ext cx="9513887" cy="493712"/>
          </a:xfrm>
          <a:custGeom>
            <a:avLst/>
            <a:gdLst>
              <a:gd name="T0" fmla="*/ 0 w 5961"/>
              <a:gd name="T1" fmla="*/ 2147483647 h 310"/>
              <a:gd name="T2" fmla="*/ 2147483647 w 5961"/>
              <a:gd name="T3" fmla="*/ 2147483647 h 310"/>
              <a:gd name="T4" fmla="*/ 2147483647 w 5961"/>
              <a:gd name="T5" fmla="*/ 2147483647 h 310"/>
              <a:gd name="T6" fmla="*/ 2147483647 w 5961"/>
              <a:gd name="T7" fmla="*/ 2147483647 h 310"/>
              <a:gd name="T8" fmla="*/ 2147483647 w 5961"/>
              <a:gd name="T9" fmla="*/ 2147483647 h 310"/>
              <a:gd name="T10" fmla="*/ 2147483647 w 5961"/>
              <a:gd name="T11" fmla="*/ 2147483647 h 310"/>
              <a:gd name="T12" fmla="*/ 2147483647 w 5961"/>
              <a:gd name="T13" fmla="*/ 2147483647 h 31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961" h="310">
                <a:moveTo>
                  <a:pt x="0" y="309"/>
                </a:moveTo>
                <a:cubicBezTo>
                  <a:pt x="243" y="174"/>
                  <a:pt x="486" y="39"/>
                  <a:pt x="822" y="39"/>
                </a:cubicBezTo>
                <a:cubicBezTo>
                  <a:pt x="1158" y="39"/>
                  <a:pt x="1596" y="308"/>
                  <a:pt x="2016" y="309"/>
                </a:cubicBezTo>
                <a:cubicBezTo>
                  <a:pt x="2436" y="310"/>
                  <a:pt x="2925" y="49"/>
                  <a:pt x="3342" y="45"/>
                </a:cubicBezTo>
                <a:cubicBezTo>
                  <a:pt x="3759" y="41"/>
                  <a:pt x="4115" y="286"/>
                  <a:pt x="4518" y="285"/>
                </a:cubicBezTo>
                <a:cubicBezTo>
                  <a:pt x="4921" y="284"/>
                  <a:pt x="5559" y="78"/>
                  <a:pt x="5760" y="39"/>
                </a:cubicBezTo>
                <a:cubicBezTo>
                  <a:pt x="5961" y="0"/>
                  <a:pt x="5730" y="49"/>
                  <a:pt x="5724" y="51"/>
                </a:cubicBezTo>
              </a:path>
            </a:pathLst>
          </a:custGeom>
          <a:noFill/>
          <a:ln w="9525">
            <a:noFill/>
            <a:round/>
            <a:headEnd/>
            <a:tailEnd/>
          </a:ln>
          <a:effectLst>
            <a:prstShdw prst="shdw17" dist="17961" dir="13500000">
              <a:srgbClr val="808080"/>
            </a:prstShdw>
          </a:effectLst>
        </p:spPr>
        <p:txBody>
          <a:bodyPr/>
          <a:lstStyle/>
          <a:p>
            <a:pPr>
              <a:defRPr/>
            </a:pPr>
            <a:endParaRPr lang="el-GR"/>
          </a:p>
        </p:txBody>
      </p:sp>
      <p:sp>
        <p:nvSpPr>
          <p:cNvPr id="10" name="Text Box 70"/>
          <p:cNvSpPr txBox="1"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9059863" y="6553200"/>
            <a:ext cx="722312" cy="179388"/>
          </a:xfrm>
          <a:prstGeom prst="rect">
            <a:avLst/>
          </a:prstGeom>
          <a:noFill/>
          <a:ln>
            <a:noFill/>
          </a:ln>
          <a:extLst/>
        </p:spPr>
        <p:txBody>
          <a:bodyPr rIns="540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80000"/>
              </a:lnSpc>
              <a:spcBef>
                <a:spcPct val="50000"/>
              </a:spcBef>
              <a:defRPr/>
            </a:pPr>
            <a:fld id="{08057398-5566-47E8-97AA-5037D002A813}" type="slidenum">
              <a:rPr lang="en-US" sz="700" smtClean="0">
                <a:latin typeface="Calibri" pitchFamily="34" charset="0"/>
              </a:rPr>
              <a:pPr algn="r" eaLnBrk="1" hangingPunct="1">
                <a:lnSpc>
                  <a:spcPct val="80000"/>
                </a:lnSpc>
                <a:spcBef>
                  <a:spcPct val="50000"/>
                </a:spcBef>
                <a:defRPr/>
              </a:pPr>
              <a:t>‹#›</a:t>
            </a:fld>
            <a:endParaRPr lang="en-GB" sz="700" smtClean="0">
              <a:latin typeface="Calibri" pitchFamily="34" charset="0"/>
            </a:endParaRPr>
          </a:p>
        </p:txBody>
      </p:sp>
      <p:sp>
        <p:nvSpPr>
          <p:cNvPr id="31" name="Content Placeholder 30"/>
          <p:cNvSpPr>
            <a:spLocks noGrp="1"/>
          </p:cNvSpPr>
          <p:nvPr>
            <p:ph sz="quarter" idx="10"/>
          </p:nvPr>
        </p:nvSpPr>
        <p:spPr>
          <a:xfrm>
            <a:off x="495300" y="433768"/>
            <a:ext cx="9410700" cy="304800"/>
          </a:xfrm>
        </p:spPr>
        <p:txBody>
          <a:bodyPr anchor="ctr">
            <a:noAutofit/>
          </a:bodyPr>
          <a:lstStyle>
            <a:lvl1pPr marL="0" indent="3175">
              <a:lnSpc>
                <a:spcPts val="1800"/>
              </a:lnSpc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6516915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0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8992" name="think-cell Slide" r:id="rId9" imgW="360" imgH="360" progId="">
              <p:embed/>
            </p:oleObj>
          </a:graphicData>
        </a:graphic>
      </p:graphicFrame>
      <p:graphicFrame>
        <p:nvGraphicFramePr>
          <p:cNvPr id="4" name="Object 3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8993" name="think-cell Slide" r:id="rId10" imgW="360" imgH="360" progId="">
              <p:embed/>
            </p:oleObj>
          </a:graphicData>
        </a:graphic>
      </p:graphicFrame>
      <p:sp>
        <p:nvSpPr>
          <p:cNvPr id="5" name="AutoShape 441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25438" y="55563"/>
            <a:ext cx="9329737" cy="560387"/>
          </a:xfrm>
          <a:prstGeom prst="roundRect">
            <a:avLst>
              <a:gd name="adj" fmla="val 0"/>
            </a:avLst>
          </a:prstGeom>
          <a:solidFill>
            <a:srgbClr val="D4D8DE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6" name="AutoShape 44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312738" y="720725"/>
            <a:ext cx="9340850" cy="303213"/>
          </a:xfrm>
          <a:prstGeom prst="roundRect">
            <a:avLst>
              <a:gd name="adj" fmla="val 0"/>
            </a:avLst>
          </a:prstGeom>
          <a:solidFill>
            <a:srgbClr val="D4D8DE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7" name="AutoShape 44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0" y="322263"/>
            <a:ext cx="9906000" cy="509587"/>
          </a:xfrm>
          <a:prstGeom prst="roundRect">
            <a:avLst>
              <a:gd name="adj" fmla="val 0"/>
            </a:avLst>
          </a:prstGeom>
          <a:solidFill>
            <a:srgbClr val="003366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8" name="Text Box 25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5622925" y="17463"/>
            <a:ext cx="4006850" cy="365125"/>
          </a:xfrm>
          <a:prstGeom prst="rect">
            <a:avLst/>
          </a:prstGeom>
          <a:noFill/>
          <a:ln>
            <a:noFill/>
          </a:ln>
          <a:extLst/>
        </p:spPr>
        <p:txBody>
          <a:bodyPr lIns="36000" tIns="36000" rIns="36000" bIns="3600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endParaRPr lang="en-GB" sz="1000" smtClean="0">
              <a:latin typeface="Calibri" pitchFamily="34" charset="0"/>
            </a:endParaRPr>
          </a:p>
        </p:txBody>
      </p:sp>
      <p:sp>
        <p:nvSpPr>
          <p:cNvPr id="9" name="Freeform 8"/>
          <p:cNvSpPr>
            <a:spLocks/>
          </p:cNvSpPr>
          <p:nvPr userDrawn="1">
            <p:custDataLst>
              <p:tags r:id="rId6"/>
            </p:custDataLst>
          </p:nvPr>
        </p:nvSpPr>
        <p:spPr bwMode="auto">
          <a:xfrm>
            <a:off x="392113" y="328613"/>
            <a:ext cx="9513887" cy="493712"/>
          </a:xfrm>
          <a:custGeom>
            <a:avLst/>
            <a:gdLst>
              <a:gd name="T0" fmla="*/ 0 w 5961"/>
              <a:gd name="T1" fmla="*/ 2147483647 h 310"/>
              <a:gd name="T2" fmla="*/ 2147483647 w 5961"/>
              <a:gd name="T3" fmla="*/ 2147483647 h 310"/>
              <a:gd name="T4" fmla="*/ 2147483647 w 5961"/>
              <a:gd name="T5" fmla="*/ 2147483647 h 310"/>
              <a:gd name="T6" fmla="*/ 2147483647 w 5961"/>
              <a:gd name="T7" fmla="*/ 2147483647 h 310"/>
              <a:gd name="T8" fmla="*/ 2147483647 w 5961"/>
              <a:gd name="T9" fmla="*/ 2147483647 h 310"/>
              <a:gd name="T10" fmla="*/ 2147483647 w 5961"/>
              <a:gd name="T11" fmla="*/ 2147483647 h 310"/>
              <a:gd name="T12" fmla="*/ 2147483647 w 5961"/>
              <a:gd name="T13" fmla="*/ 2147483647 h 31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961" h="310">
                <a:moveTo>
                  <a:pt x="0" y="309"/>
                </a:moveTo>
                <a:cubicBezTo>
                  <a:pt x="243" y="174"/>
                  <a:pt x="486" y="39"/>
                  <a:pt x="822" y="39"/>
                </a:cubicBezTo>
                <a:cubicBezTo>
                  <a:pt x="1158" y="39"/>
                  <a:pt x="1596" y="308"/>
                  <a:pt x="2016" y="309"/>
                </a:cubicBezTo>
                <a:cubicBezTo>
                  <a:pt x="2436" y="310"/>
                  <a:pt x="2925" y="49"/>
                  <a:pt x="3342" y="45"/>
                </a:cubicBezTo>
                <a:cubicBezTo>
                  <a:pt x="3759" y="41"/>
                  <a:pt x="4115" y="286"/>
                  <a:pt x="4518" y="285"/>
                </a:cubicBezTo>
                <a:cubicBezTo>
                  <a:pt x="4921" y="284"/>
                  <a:pt x="5559" y="78"/>
                  <a:pt x="5760" y="39"/>
                </a:cubicBezTo>
                <a:cubicBezTo>
                  <a:pt x="5961" y="0"/>
                  <a:pt x="5730" y="49"/>
                  <a:pt x="5724" y="51"/>
                </a:cubicBezTo>
              </a:path>
            </a:pathLst>
          </a:custGeom>
          <a:noFill/>
          <a:ln w="9525">
            <a:noFill/>
            <a:round/>
            <a:headEnd/>
            <a:tailEnd/>
          </a:ln>
          <a:effectLst>
            <a:prstShdw prst="shdw17" dist="17961" dir="13500000">
              <a:srgbClr val="808080"/>
            </a:prstShdw>
          </a:effectLst>
        </p:spPr>
        <p:txBody>
          <a:bodyPr/>
          <a:lstStyle/>
          <a:p>
            <a:pPr>
              <a:defRPr/>
            </a:pPr>
            <a:endParaRPr lang="el-GR"/>
          </a:p>
        </p:txBody>
      </p:sp>
      <p:sp>
        <p:nvSpPr>
          <p:cNvPr id="10" name="Text Box 70"/>
          <p:cNvSpPr txBox="1"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9059863" y="6553200"/>
            <a:ext cx="722312" cy="179388"/>
          </a:xfrm>
          <a:prstGeom prst="rect">
            <a:avLst/>
          </a:prstGeom>
          <a:noFill/>
          <a:ln>
            <a:noFill/>
          </a:ln>
          <a:extLst/>
        </p:spPr>
        <p:txBody>
          <a:bodyPr rIns="540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80000"/>
              </a:lnSpc>
              <a:spcBef>
                <a:spcPct val="50000"/>
              </a:spcBef>
              <a:defRPr/>
            </a:pPr>
            <a:fld id="{FA8D1353-7550-486B-82A2-500A448A4D0E}" type="slidenum">
              <a:rPr lang="en-US" sz="700" smtClean="0">
                <a:latin typeface="Calibri" pitchFamily="34" charset="0"/>
              </a:rPr>
              <a:pPr algn="r" eaLnBrk="1" hangingPunct="1">
                <a:lnSpc>
                  <a:spcPct val="80000"/>
                </a:lnSpc>
                <a:spcBef>
                  <a:spcPct val="50000"/>
                </a:spcBef>
                <a:defRPr/>
              </a:pPr>
              <a:t>‹#›</a:t>
            </a:fld>
            <a:endParaRPr lang="en-GB" sz="700" smtClean="0">
              <a:latin typeface="Calibri" pitchFamily="34" charset="0"/>
            </a:endParaRPr>
          </a:p>
        </p:txBody>
      </p:sp>
      <p:sp>
        <p:nvSpPr>
          <p:cNvPr id="31" name="Content Placeholder 30"/>
          <p:cNvSpPr>
            <a:spLocks noGrp="1"/>
          </p:cNvSpPr>
          <p:nvPr>
            <p:ph sz="quarter" idx="10"/>
          </p:nvPr>
        </p:nvSpPr>
        <p:spPr>
          <a:xfrm>
            <a:off x="495300" y="433768"/>
            <a:ext cx="9410700" cy="304800"/>
          </a:xfrm>
        </p:spPr>
        <p:txBody>
          <a:bodyPr anchor="ctr">
            <a:noAutofit/>
          </a:bodyPr>
          <a:lstStyle>
            <a:lvl1pPr marL="0" indent="3175">
              <a:lnSpc>
                <a:spcPts val="1800"/>
              </a:lnSpc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773917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0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0016" name="think-cell Slide" r:id="rId9" imgW="360" imgH="360" progId="">
              <p:embed/>
            </p:oleObj>
          </a:graphicData>
        </a:graphic>
      </p:graphicFrame>
      <p:graphicFrame>
        <p:nvGraphicFramePr>
          <p:cNvPr id="4" name="Object 3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0017" name="think-cell Slide" r:id="rId10" imgW="360" imgH="360" progId="">
              <p:embed/>
            </p:oleObj>
          </a:graphicData>
        </a:graphic>
      </p:graphicFrame>
      <p:sp>
        <p:nvSpPr>
          <p:cNvPr id="5" name="AutoShape 441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25438" y="55563"/>
            <a:ext cx="9329737" cy="560387"/>
          </a:xfrm>
          <a:prstGeom prst="roundRect">
            <a:avLst>
              <a:gd name="adj" fmla="val 0"/>
            </a:avLst>
          </a:prstGeom>
          <a:solidFill>
            <a:srgbClr val="D4D8DE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6" name="AutoShape 44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312738" y="720725"/>
            <a:ext cx="9340850" cy="303213"/>
          </a:xfrm>
          <a:prstGeom prst="roundRect">
            <a:avLst>
              <a:gd name="adj" fmla="val 0"/>
            </a:avLst>
          </a:prstGeom>
          <a:solidFill>
            <a:srgbClr val="D4D8DE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7" name="AutoShape 44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0" y="322263"/>
            <a:ext cx="9906000" cy="509587"/>
          </a:xfrm>
          <a:prstGeom prst="roundRect">
            <a:avLst>
              <a:gd name="adj" fmla="val 0"/>
            </a:avLst>
          </a:prstGeom>
          <a:solidFill>
            <a:srgbClr val="003366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8" name="Text Box 25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5622925" y="17463"/>
            <a:ext cx="4006850" cy="365125"/>
          </a:xfrm>
          <a:prstGeom prst="rect">
            <a:avLst/>
          </a:prstGeom>
          <a:noFill/>
          <a:ln>
            <a:noFill/>
          </a:ln>
          <a:extLst/>
        </p:spPr>
        <p:txBody>
          <a:bodyPr lIns="36000" tIns="36000" rIns="36000" bIns="3600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endParaRPr lang="en-GB" sz="1000" smtClean="0">
              <a:latin typeface="Calibri" pitchFamily="34" charset="0"/>
            </a:endParaRPr>
          </a:p>
        </p:txBody>
      </p:sp>
      <p:sp>
        <p:nvSpPr>
          <p:cNvPr id="9" name="Freeform 8"/>
          <p:cNvSpPr>
            <a:spLocks/>
          </p:cNvSpPr>
          <p:nvPr userDrawn="1">
            <p:custDataLst>
              <p:tags r:id="rId6"/>
            </p:custDataLst>
          </p:nvPr>
        </p:nvSpPr>
        <p:spPr bwMode="auto">
          <a:xfrm>
            <a:off x="392113" y="328613"/>
            <a:ext cx="9513887" cy="493712"/>
          </a:xfrm>
          <a:custGeom>
            <a:avLst/>
            <a:gdLst>
              <a:gd name="T0" fmla="*/ 0 w 5961"/>
              <a:gd name="T1" fmla="*/ 2147483647 h 310"/>
              <a:gd name="T2" fmla="*/ 2147483647 w 5961"/>
              <a:gd name="T3" fmla="*/ 2147483647 h 310"/>
              <a:gd name="T4" fmla="*/ 2147483647 w 5961"/>
              <a:gd name="T5" fmla="*/ 2147483647 h 310"/>
              <a:gd name="T6" fmla="*/ 2147483647 w 5961"/>
              <a:gd name="T7" fmla="*/ 2147483647 h 310"/>
              <a:gd name="T8" fmla="*/ 2147483647 w 5961"/>
              <a:gd name="T9" fmla="*/ 2147483647 h 310"/>
              <a:gd name="T10" fmla="*/ 2147483647 w 5961"/>
              <a:gd name="T11" fmla="*/ 2147483647 h 310"/>
              <a:gd name="T12" fmla="*/ 2147483647 w 5961"/>
              <a:gd name="T13" fmla="*/ 2147483647 h 31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961" h="310">
                <a:moveTo>
                  <a:pt x="0" y="309"/>
                </a:moveTo>
                <a:cubicBezTo>
                  <a:pt x="243" y="174"/>
                  <a:pt x="486" y="39"/>
                  <a:pt x="822" y="39"/>
                </a:cubicBezTo>
                <a:cubicBezTo>
                  <a:pt x="1158" y="39"/>
                  <a:pt x="1596" y="308"/>
                  <a:pt x="2016" y="309"/>
                </a:cubicBezTo>
                <a:cubicBezTo>
                  <a:pt x="2436" y="310"/>
                  <a:pt x="2925" y="49"/>
                  <a:pt x="3342" y="45"/>
                </a:cubicBezTo>
                <a:cubicBezTo>
                  <a:pt x="3759" y="41"/>
                  <a:pt x="4115" y="286"/>
                  <a:pt x="4518" y="285"/>
                </a:cubicBezTo>
                <a:cubicBezTo>
                  <a:pt x="4921" y="284"/>
                  <a:pt x="5559" y="78"/>
                  <a:pt x="5760" y="39"/>
                </a:cubicBezTo>
                <a:cubicBezTo>
                  <a:pt x="5961" y="0"/>
                  <a:pt x="5730" y="49"/>
                  <a:pt x="5724" y="51"/>
                </a:cubicBezTo>
              </a:path>
            </a:pathLst>
          </a:custGeom>
          <a:noFill/>
          <a:ln w="9525">
            <a:noFill/>
            <a:round/>
            <a:headEnd/>
            <a:tailEnd/>
          </a:ln>
          <a:effectLst>
            <a:prstShdw prst="shdw17" dist="17961" dir="13500000">
              <a:srgbClr val="808080"/>
            </a:prstShdw>
          </a:effectLst>
        </p:spPr>
        <p:txBody>
          <a:bodyPr/>
          <a:lstStyle/>
          <a:p>
            <a:pPr>
              <a:defRPr/>
            </a:pPr>
            <a:endParaRPr lang="el-GR"/>
          </a:p>
        </p:txBody>
      </p:sp>
      <p:sp>
        <p:nvSpPr>
          <p:cNvPr id="10" name="Text Box 70"/>
          <p:cNvSpPr txBox="1"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9059863" y="6553200"/>
            <a:ext cx="722312" cy="179388"/>
          </a:xfrm>
          <a:prstGeom prst="rect">
            <a:avLst/>
          </a:prstGeom>
          <a:noFill/>
          <a:ln>
            <a:noFill/>
          </a:ln>
          <a:extLst/>
        </p:spPr>
        <p:txBody>
          <a:bodyPr rIns="540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80000"/>
              </a:lnSpc>
              <a:spcBef>
                <a:spcPct val="50000"/>
              </a:spcBef>
              <a:defRPr/>
            </a:pPr>
            <a:fld id="{55C5580E-F77D-45EE-8B76-BC152EBA2EDA}" type="slidenum">
              <a:rPr lang="en-US" sz="700" smtClean="0">
                <a:latin typeface="Calibri" pitchFamily="34" charset="0"/>
              </a:rPr>
              <a:pPr algn="r" eaLnBrk="1" hangingPunct="1">
                <a:lnSpc>
                  <a:spcPct val="80000"/>
                </a:lnSpc>
                <a:spcBef>
                  <a:spcPct val="50000"/>
                </a:spcBef>
                <a:defRPr/>
              </a:pPr>
              <a:t>‹#›</a:t>
            </a:fld>
            <a:endParaRPr lang="en-GB" sz="700" smtClean="0">
              <a:latin typeface="Calibri" pitchFamily="34" charset="0"/>
            </a:endParaRPr>
          </a:p>
        </p:txBody>
      </p:sp>
      <p:sp>
        <p:nvSpPr>
          <p:cNvPr id="31" name="Content Placeholder 30"/>
          <p:cNvSpPr>
            <a:spLocks noGrp="1"/>
          </p:cNvSpPr>
          <p:nvPr>
            <p:ph sz="quarter" idx="10"/>
          </p:nvPr>
        </p:nvSpPr>
        <p:spPr>
          <a:xfrm>
            <a:off x="495300" y="433768"/>
            <a:ext cx="9410700" cy="304800"/>
          </a:xfrm>
        </p:spPr>
        <p:txBody>
          <a:bodyPr anchor="ctr">
            <a:noAutofit/>
          </a:bodyPr>
          <a:lstStyle>
            <a:lvl1pPr marL="0" indent="3175">
              <a:lnSpc>
                <a:spcPts val="1800"/>
              </a:lnSpc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089517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0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1040" name="think-cell Slide" r:id="rId9" imgW="360" imgH="360" progId="">
              <p:embed/>
            </p:oleObj>
          </a:graphicData>
        </a:graphic>
      </p:graphicFrame>
      <p:graphicFrame>
        <p:nvGraphicFramePr>
          <p:cNvPr id="4" name="Object 3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1041" name="think-cell Slide" r:id="rId10" imgW="360" imgH="360" progId="">
              <p:embed/>
            </p:oleObj>
          </a:graphicData>
        </a:graphic>
      </p:graphicFrame>
      <p:sp>
        <p:nvSpPr>
          <p:cNvPr id="5" name="AutoShape 441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25438" y="55563"/>
            <a:ext cx="9329737" cy="560387"/>
          </a:xfrm>
          <a:prstGeom prst="roundRect">
            <a:avLst>
              <a:gd name="adj" fmla="val 0"/>
            </a:avLst>
          </a:prstGeom>
          <a:solidFill>
            <a:srgbClr val="D4D8DE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6" name="AutoShape 44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312738" y="720725"/>
            <a:ext cx="9340850" cy="303213"/>
          </a:xfrm>
          <a:prstGeom prst="roundRect">
            <a:avLst>
              <a:gd name="adj" fmla="val 0"/>
            </a:avLst>
          </a:prstGeom>
          <a:solidFill>
            <a:srgbClr val="D4D8DE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7" name="AutoShape 44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0" y="322263"/>
            <a:ext cx="9906000" cy="509587"/>
          </a:xfrm>
          <a:prstGeom prst="roundRect">
            <a:avLst>
              <a:gd name="adj" fmla="val 0"/>
            </a:avLst>
          </a:prstGeom>
          <a:solidFill>
            <a:srgbClr val="003366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>
              <a:spcBef>
                <a:spcPct val="50000"/>
              </a:spcBef>
              <a:defRPr/>
            </a:pPr>
            <a:endParaRPr lang="en-GB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8" name="Text Box 25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5622925" y="17463"/>
            <a:ext cx="4006850" cy="365125"/>
          </a:xfrm>
          <a:prstGeom prst="rect">
            <a:avLst/>
          </a:prstGeom>
          <a:noFill/>
          <a:ln>
            <a:noFill/>
          </a:ln>
          <a:extLst/>
        </p:spPr>
        <p:txBody>
          <a:bodyPr lIns="36000" tIns="36000" rIns="36000" bIns="3600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endParaRPr lang="en-GB" sz="1000" smtClean="0">
              <a:latin typeface="Calibri" pitchFamily="34" charset="0"/>
            </a:endParaRPr>
          </a:p>
        </p:txBody>
      </p:sp>
      <p:sp>
        <p:nvSpPr>
          <p:cNvPr id="9" name="Freeform 8"/>
          <p:cNvSpPr>
            <a:spLocks/>
          </p:cNvSpPr>
          <p:nvPr userDrawn="1">
            <p:custDataLst>
              <p:tags r:id="rId6"/>
            </p:custDataLst>
          </p:nvPr>
        </p:nvSpPr>
        <p:spPr bwMode="auto">
          <a:xfrm>
            <a:off x="392113" y="328613"/>
            <a:ext cx="9513887" cy="493712"/>
          </a:xfrm>
          <a:custGeom>
            <a:avLst/>
            <a:gdLst>
              <a:gd name="T0" fmla="*/ 0 w 5961"/>
              <a:gd name="T1" fmla="*/ 2147483647 h 310"/>
              <a:gd name="T2" fmla="*/ 2147483647 w 5961"/>
              <a:gd name="T3" fmla="*/ 2147483647 h 310"/>
              <a:gd name="T4" fmla="*/ 2147483647 w 5961"/>
              <a:gd name="T5" fmla="*/ 2147483647 h 310"/>
              <a:gd name="T6" fmla="*/ 2147483647 w 5961"/>
              <a:gd name="T7" fmla="*/ 2147483647 h 310"/>
              <a:gd name="T8" fmla="*/ 2147483647 w 5961"/>
              <a:gd name="T9" fmla="*/ 2147483647 h 310"/>
              <a:gd name="T10" fmla="*/ 2147483647 w 5961"/>
              <a:gd name="T11" fmla="*/ 2147483647 h 310"/>
              <a:gd name="T12" fmla="*/ 2147483647 w 5961"/>
              <a:gd name="T13" fmla="*/ 2147483647 h 31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961" h="310">
                <a:moveTo>
                  <a:pt x="0" y="309"/>
                </a:moveTo>
                <a:cubicBezTo>
                  <a:pt x="243" y="174"/>
                  <a:pt x="486" y="39"/>
                  <a:pt x="822" y="39"/>
                </a:cubicBezTo>
                <a:cubicBezTo>
                  <a:pt x="1158" y="39"/>
                  <a:pt x="1596" y="308"/>
                  <a:pt x="2016" y="309"/>
                </a:cubicBezTo>
                <a:cubicBezTo>
                  <a:pt x="2436" y="310"/>
                  <a:pt x="2925" y="49"/>
                  <a:pt x="3342" y="45"/>
                </a:cubicBezTo>
                <a:cubicBezTo>
                  <a:pt x="3759" y="41"/>
                  <a:pt x="4115" y="286"/>
                  <a:pt x="4518" y="285"/>
                </a:cubicBezTo>
                <a:cubicBezTo>
                  <a:pt x="4921" y="284"/>
                  <a:pt x="5559" y="78"/>
                  <a:pt x="5760" y="39"/>
                </a:cubicBezTo>
                <a:cubicBezTo>
                  <a:pt x="5961" y="0"/>
                  <a:pt x="5730" y="49"/>
                  <a:pt x="5724" y="51"/>
                </a:cubicBezTo>
              </a:path>
            </a:pathLst>
          </a:custGeom>
          <a:noFill/>
          <a:ln w="9525">
            <a:noFill/>
            <a:round/>
            <a:headEnd/>
            <a:tailEnd/>
          </a:ln>
          <a:effectLst>
            <a:prstShdw prst="shdw17" dist="17961" dir="13500000">
              <a:srgbClr val="808080"/>
            </a:prstShdw>
          </a:effectLst>
        </p:spPr>
        <p:txBody>
          <a:bodyPr/>
          <a:lstStyle/>
          <a:p>
            <a:pPr>
              <a:defRPr/>
            </a:pPr>
            <a:endParaRPr lang="el-GR"/>
          </a:p>
        </p:txBody>
      </p:sp>
      <p:sp>
        <p:nvSpPr>
          <p:cNvPr id="10" name="Text Box 70"/>
          <p:cNvSpPr txBox="1"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9059863" y="6553200"/>
            <a:ext cx="722312" cy="179388"/>
          </a:xfrm>
          <a:prstGeom prst="rect">
            <a:avLst/>
          </a:prstGeom>
          <a:noFill/>
          <a:ln>
            <a:noFill/>
          </a:ln>
          <a:extLst/>
        </p:spPr>
        <p:txBody>
          <a:bodyPr rIns="540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80000"/>
              </a:lnSpc>
              <a:spcBef>
                <a:spcPct val="50000"/>
              </a:spcBef>
              <a:defRPr/>
            </a:pPr>
            <a:fld id="{EF3ADD68-012C-4D98-AEC5-7417525C1C37}" type="slidenum">
              <a:rPr lang="en-US" sz="700" smtClean="0">
                <a:latin typeface="Calibri" pitchFamily="34" charset="0"/>
              </a:rPr>
              <a:pPr algn="r" eaLnBrk="1" hangingPunct="1">
                <a:lnSpc>
                  <a:spcPct val="80000"/>
                </a:lnSpc>
                <a:spcBef>
                  <a:spcPct val="50000"/>
                </a:spcBef>
                <a:defRPr/>
              </a:pPr>
              <a:t>‹#›</a:t>
            </a:fld>
            <a:endParaRPr lang="en-GB" sz="700" smtClean="0">
              <a:latin typeface="Calibri" pitchFamily="34" charset="0"/>
            </a:endParaRPr>
          </a:p>
        </p:txBody>
      </p:sp>
      <p:sp>
        <p:nvSpPr>
          <p:cNvPr id="31" name="Content Placeholder 30"/>
          <p:cNvSpPr>
            <a:spLocks noGrp="1"/>
          </p:cNvSpPr>
          <p:nvPr>
            <p:ph sz="quarter" idx="10"/>
          </p:nvPr>
        </p:nvSpPr>
        <p:spPr>
          <a:xfrm>
            <a:off x="495300" y="433768"/>
            <a:ext cx="9410700" cy="304800"/>
          </a:xfrm>
        </p:spPr>
        <p:txBody>
          <a:bodyPr anchor="ctr">
            <a:noAutofit/>
          </a:bodyPr>
          <a:lstStyle>
            <a:lvl1pPr marL="0" indent="3175">
              <a:lnSpc>
                <a:spcPts val="1800"/>
              </a:lnSpc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5805655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6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04" name="think-cell Slide" r:id="rId18" imgW="360" imgH="360" progId="">
              <p:embed/>
            </p:oleObj>
          </a:graphicData>
        </a:graphic>
      </p:graphicFrame>
      <p:sp>
        <p:nvSpPr>
          <p:cNvPr id="1028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  <p:custDataLst>
              <p:tags r:id="rId15"/>
            </p:custDataLst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49DAEA88-A8DF-4164-854A-56FD25CF2B19}" type="datetimeFigureOut">
              <a:rPr lang="en-US"/>
              <a:pPr>
                <a:defRPr/>
              </a:pPr>
              <a:t>6/6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16"/>
            </p:custDataLst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7"/>
            </p:custDataLst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878E956-7676-4109-8BE4-EBF16942228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898" r:id="rId1"/>
    <p:sldLayoutId id="2147484899" r:id="rId2"/>
    <p:sldLayoutId id="2147484900" r:id="rId3"/>
    <p:sldLayoutId id="2147484901" r:id="rId4"/>
    <p:sldLayoutId id="2147484902" r:id="rId5"/>
    <p:sldLayoutId id="2147484903" r:id="rId6"/>
    <p:sldLayoutId id="2147484904" r:id="rId7"/>
    <p:sldLayoutId id="2147484905" r:id="rId8"/>
    <p:sldLayoutId id="2147484906" r:id="rId9"/>
    <p:sldLayoutId id="2147484907" r:id="rId10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l-GR" dirty="0" smtClean="0"/>
              <a:t>Έσοδα ΤΑΙΠΕΔ από συμβόλαια </a:t>
            </a:r>
            <a:r>
              <a:rPr lang="el-GR" dirty="0"/>
              <a:t>2015-2016</a:t>
            </a:r>
          </a:p>
        </p:txBody>
      </p:sp>
      <p:graphicFrame>
        <p:nvGraphicFramePr>
          <p:cNvPr id="23" name="Content Placeholder 22"/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xmlns="" val="1709652246"/>
              </p:ext>
            </p:extLst>
          </p:nvPr>
        </p:nvGraphicFramePr>
        <p:xfrm>
          <a:off x="279133" y="885522"/>
          <a:ext cx="9152492" cy="5697173"/>
        </p:xfrm>
        <a:graphic>
          <a:graphicData uri="http://schemas.openxmlformats.org/drawingml/2006/table">
            <a:tbl>
              <a:tblPr firstRow="1" lastRow="1" bandRow="1">
                <a:tableStyleId>{6E25E649-3F16-4E02-A733-19D2CDBF48F0}</a:tableStyleId>
              </a:tblPr>
              <a:tblGrid>
                <a:gridCol w="389076"/>
                <a:gridCol w="1452486"/>
                <a:gridCol w="1218488"/>
                <a:gridCol w="1013756"/>
                <a:gridCol w="859834"/>
                <a:gridCol w="930243"/>
                <a:gridCol w="1074366"/>
                <a:gridCol w="2214243"/>
              </a:tblGrid>
              <a:tr h="267767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u="none" strike="noStrike" dirty="0" smtClean="0">
                          <a:effectLst/>
                        </a:rPr>
                        <a:t>Α/Α</a:t>
                      </a:r>
                      <a:endParaRPr lang="el-G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u="none" strike="noStrike" dirty="0" smtClean="0">
                          <a:effectLst/>
                        </a:rPr>
                        <a:t>Ακίνητο</a:t>
                      </a:r>
                      <a:endParaRPr lang="el-G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u="none" strike="noStrike" dirty="0" smtClean="0">
                          <a:effectLst/>
                        </a:rPr>
                        <a:t>Τίμημα</a:t>
                      </a:r>
                      <a:endParaRPr lang="el-G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u="none" strike="noStrike" dirty="0" smtClean="0">
                          <a:effectLst/>
                        </a:rPr>
                        <a:t>2015</a:t>
                      </a:r>
                      <a:endParaRPr lang="el-G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u="none" strike="noStrike" dirty="0" smtClean="0">
                          <a:effectLst/>
                        </a:rPr>
                        <a:t>2016</a:t>
                      </a:r>
                      <a:endParaRPr lang="el-G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u="none" strike="noStrike" dirty="0" smtClean="0">
                          <a:effectLst/>
                        </a:rPr>
                        <a:t>2017</a:t>
                      </a:r>
                      <a:endParaRPr lang="el-G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u="none" strike="noStrike" dirty="0" smtClean="0">
                          <a:effectLst/>
                        </a:rPr>
                        <a:t>2018</a:t>
                      </a:r>
                      <a:endParaRPr lang="el-G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200" u="none" strike="noStrike" dirty="0" smtClean="0">
                          <a:effectLst/>
                        </a:rPr>
                        <a:t>&gt; 2018</a:t>
                      </a:r>
                      <a:endParaRPr lang="el-G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26776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Τσακάλωφ</a:t>
                      </a:r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l-G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από 2014)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250.000</a:t>
                      </a:r>
                      <a:r>
                        <a:rPr lang="el-G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€</a:t>
                      </a:r>
                      <a:endParaRPr lang="el-G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50.000</a:t>
                      </a:r>
                      <a:r>
                        <a:rPr lang="el-G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€</a:t>
                      </a:r>
                      <a:endParaRPr lang="el-G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267767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Αναγνωστοπούλου (από</a:t>
                      </a:r>
                      <a:r>
                        <a:rPr lang="el-GR" sz="10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014)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137.000,58 </a:t>
                      </a:r>
                      <a:r>
                        <a:rPr lang="el-G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€</a:t>
                      </a:r>
                      <a:r>
                        <a:rPr lang="el-G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endParaRPr lang="el-G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89.619 </a:t>
                      </a:r>
                      <a:r>
                        <a:rPr lang="el-G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€</a:t>
                      </a:r>
                      <a:endParaRPr lang="el-GR" sz="11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267767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1" i="0" u="none" strike="noStrike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Νέα Ηράκλεια (από 2014)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243.000 </a:t>
                      </a:r>
                      <a:r>
                        <a:rPr lang="el-G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€</a:t>
                      </a:r>
                      <a:endParaRPr lang="el-G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75.000 </a:t>
                      </a:r>
                      <a:r>
                        <a:rPr lang="el-G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€</a:t>
                      </a:r>
                      <a:endParaRPr lang="el-G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.000 </a:t>
                      </a:r>
                      <a:r>
                        <a:rPr lang="el-G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€</a:t>
                      </a:r>
                      <a:endParaRPr lang="el-G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9.000</a:t>
                      </a:r>
                      <a:r>
                        <a:rPr lang="el-G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l-G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€</a:t>
                      </a:r>
                      <a:endParaRPr lang="el-G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.000 </a:t>
                      </a:r>
                      <a:r>
                        <a:rPr lang="el-G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€</a:t>
                      </a:r>
                      <a:endParaRPr lang="el-G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.000 </a:t>
                      </a:r>
                      <a:r>
                        <a:rPr lang="el-GR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€</a:t>
                      </a:r>
                      <a:endParaRPr lang="el-G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267767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1" u="none" strike="noStrike" dirty="0" err="1" smtClean="0">
                          <a:effectLst/>
                        </a:rPr>
                        <a:t>Καλαμίτσα</a:t>
                      </a:r>
                      <a:r>
                        <a:rPr lang="el-GR" sz="1000" b="1" u="none" strike="noStrike" dirty="0" smtClean="0">
                          <a:effectLst/>
                        </a:rPr>
                        <a:t> Καβάλας 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00.000 </a:t>
                      </a:r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€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00.000 </a:t>
                      </a:r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€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-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-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-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267767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1" u="none" strike="noStrike" dirty="0" err="1" smtClean="0">
                          <a:effectLst/>
                        </a:rPr>
                        <a:t>Σμολένσκυ</a:t>
                      </a:r>
                      <a:r>
                        <a:rPr lang="el-GR" sz="1000" b="1" u="none" strike="noStrike" dirty="0" smtClean="0">
                          <a:effectLst/>
                        </a:rPr>
                        <a:t> 4, Ν. Φάληρο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34.000 </a:t>
                      </a:r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€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34.000 </a:t>
                      </a:r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€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-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-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-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267767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1" u="none" strike="noStrike" dirty="0" smtClean="0">
                          <a:effectLst/>
                        </a:rPr>
                        <a:t>Ξενία Σκιάθου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628.000 </a:t>
                      </a:r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€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628.000 </a:t>
                      </a:r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€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-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-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289871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1" u="none" strike="noStrike" dirty="0" smtClean="0">
                          <a:effectLst/>
                        </a:rPr>
                        <a:t>Άγιος Ιωάννης Σιθωνίας, Χαλκιδική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.610.000 </a:t>
                      </a:r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€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.610.000 </a:t>
                      </a:r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€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-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267767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1" u="none" strike="noStrike" dirty="0" smtClean="0">
                          <a:effectLst/>
                        </a:rPr>
                        <a:t>Θεοφίλου 13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40.000 </a:t>
                      </a:r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€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108.0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108.000 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108.000 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108.000 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u="none" strike="noStrike" kern="1200" dirty="0" smtClean="0">
                          <a:effectLst/>
                        </a:rPr>
                        <a:t>108</a:t>
                      </a:r>
                      <a:r>
                        <a:rPr lang="el-GR" sz="1000" u="none" strike="noStrike" kern="1200" dirty="0" smtClean="0">
                          <a:effectLst/>
                        </a:rPr>
                        <a:t>.</a:t>
                      </a:r>
                      <a:r>
                        <a:rPr lang="en-US" sz="1000" u="none" strike="noStrike" kern="1200" dirty="0" smtClean="0">
                          <a:effectLst/>
                        </a:rPr>
                        <a:t>000</a:t>
                      </a:r>
                      <a:r>
                        <a:rPr lang="el-GR" sz="1000" u="none" strike="noStrike" kern="1200" dirty="0" smtClean="0">
                          <a:effectLst/>
                        </a:rPr>
                        <a:t> </a:t>
                      </a:r>
                      <a:r>
                        <a:rPr lang="en-US" sz="1000" u="none" strike="noStrike" dirty="0" smtClean="0">
                          <a:effectLst/>
                        </a:rPr>
                        <a:t>€</a:t>
                      </a:r>
                      <a:r>
                        <a:rPr lang="el-GR" sz="1000" u="none" strike="noStrike" dirty="0" smtClean="0">
                          <a:effectLst/>
                        </a:rPr>
                        <a:t> το 2019</a:t>
                      </a:r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267767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9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1" u="none" strike="noStrike" dirty="0" smtClean="0">
                          <a:effectLst/>
                        </a:rPr>
                        <a:t>Μητροπόλεως 9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.785.000 </a:t>
                      </a:r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€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3.785.0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-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267767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u="none" strike="noStrike" dirty="0" smtClean="0">
                          <a:effectLst/>
                        </a:rPr>
                        <a:t>1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1" u="none" strike="noStrike" dirty="0" err="1" smtClean="0">
                          <a:effectLst/>
                        </a:rPr>
                        <a:t>Τούζλα</a:t>
                      </a:r>
                      <a:r>
                        <a:rPr lang="el-GR" sz="1000" b="1" u="none" strike="noStrike" dirty="0" smtClean="0">
                          <a:effectLst/>
                        </a:rPr>
                        <a:t> Παγγαίου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450.000 </a:t>
                      </a:r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€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290.0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290.000 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290.000 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290.000 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290.000 €</a:t>
                      </a:r>
                      <a:r>
                        <a:rPr lang="el-GR" sz="1000" u="none" strike="noStrike" dirty="0" smtClean="0">
                          <a:effectLst/>
                        </a:rPr>
                        <a:t> το 2019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267767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u="none" strike="noStrike" dirty="0" smtClean="0">
                          <a:effectLst/>
                        </a:rPr>
                        <a:t>11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1" u="none" strike="noStrike" dirty="0" smtClean="0">
                          <a:effectLst/>
                        </a:rPr>
                        <a:t>Βελιγράδι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400.500 </a:t>
                      </a:r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€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2.400.5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-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267767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u="none" strike="noStrike" dirty="0" smtClean="0">
                          <a:effectLst/>
                        </a:rPr>
                        <a:t>1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1" u="none" strike="noStrike" dirty="0" smtClean="0">
                          <a:effectLst/>
                        </a:rPr>
                        <a:t>Σανατόριο Μάνας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30.000 </a:t>
                      </a:r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€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8.3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8.3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24.9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24.9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u="none" strike="noStrike" dirty="0" smtClean="0">
                          <a:effectLst/>
                        </a:rPr>
                        <a:t>763.600 € μέχρι</a:t>
                      </a:r>
                      <a:r>
                        <a:rPr lang="el-GR" sz="1000" u="none" strike="noStrike" baseline="0" dirty="0" smtClean="0">
                          <a:effectLst/>
                        </a:rPr>
                        <a:t> το 2065</a:t>
                      </a:r>
                      <a:endParaRPr lang="el-G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267767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u="none" strike="noStrike" dirty="0" smtClean="0">
                          <a:effectLst/>
                        </a:rPr>
                        <a:t>13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1" u="none" strike="noStrike" dirty="0" smtClean="0">
                          <a:effectLst/>
                        </a:rPr>
                        <a:t>ΧΕΥ </a:t>
                      </a:r>
                      <a:r>
                        <a:rPr lang="el-GR" sz="1000" b="1" u="none" strike="noStrike" dirty="0" err="1" smtClean="0">
                          <a:effectLst/>
                        </a:rPr>
                        <a:t>Νερατζιώτισσας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800.000 </a:t>
                      </a:r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€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517.5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270.0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270.0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270.0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u="none" strike="noStrike" dirty="0" smtClean="0">
                          <a:effectLst/>
                        </a:rPr>
                        <a:t>472.500 € μέχρι το 2020</a:t>
                      </a:r>
                      <a:endParaRPr lang="el-G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267767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u="none" strike="noStrike" dirty="0" smtClean="0">
                          <a:effectLst/>
                        </a:rPr>
                        <a:t>14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1" u="none" strike="noStrike" dirty="0" smtClean="0">
                          <a:effectLst/>
                        </a:rPr>
                        <a:t>Ευαγγελιστρίας 9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720.000 </a:t>
                      </a:r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€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344.0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344.0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344.0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344.0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344</a:t>
                      </a:r>
                      <a:r>
                        <a:rPr lang="el-GR" sz="1000" u="none" strike="noStrike" dirty="0" smtClean="0">
                          <a:effectLst/>
                        </a:rPr>
                        <a:t>.</a:t>
                      </a:r>
                      <a:r>
                        <a:rPr lang="en-US" sz="1000" u="none" strike="noStrike" dirty="0" smtClean="0">
                          <a:effectLst/>
                        </a:rPr>
                        <a:t>000</a:t>
                      </a:r>
                      <a:r>
                        <a:rPr lang="el-GR" sz="1000" u="none" strike="noStrike" dirty="0" smtClean="0">
                          <a:effectLst/>
                        </a:rPr>
                        <a:t> € το 2019</a:t>
                      </a:r>
                      <a:endParaRPr lang="el-GR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267767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u="none" strike="noStrike" dirty="0" smtClean="0">
                          <a:effectLst/>
                        </a:rPr>
                        <a:t>1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1" u="none" strike="noStrike" dirty="0" smtClean="0">
                          <a:effectLst/>
                        </a:rPr>
                        <a:t>Καλά Νερά Μαγνησίας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030.000 </a:t>
                      </a:r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€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1.030.0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000" u="none" strike="noStrike" dirty="0" smtClean="0">
                          <a:effectLst/>
                        </a:rPr>
                        <a:t>-</a:t>
                      </a:r>
                      <a:r>
                        <a:rPr lang="en-US" sz="1000" u="none" strike="noStrike" dirty="0">
                          <a:effectLst/>
                        </a:rPr>
                        <a:t>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 </a:t>
                      </a:r>
                      <a:r>
                        <a:rPr lang="el-GR" sz="1000" u="none" strike="noStrike" dirty="0" smtClean="0">
                          <a:effectLst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 </a:t>
                      </a:r>
                      <a:r>
                        <a:rPr lang="el-GR" sz="1000" u="none" strike="noStrike" dirty="0" smtClean="0">
                          <a:effectLst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267767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u="none" strike="noStrike" dirty="0" smtClean="0">
                          <a:effectLst/>
                        </a:rPr>
                        <a:t>16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1" u="none" strike="noStrike" dirty="0" smtClean="0">
                          <a:effectLst/>
                        </a:rPr>
                        <a:t>Ειρηνοδικείο Παραμυθιάς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10.000 </a:t>
                      </a:r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€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100.0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110.0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000" u="none" strike="noStrike" dirty="0" smtClean="0">
                          <a:effectLst/>
                        </a:rPr>
                        <a:t>-</a:t>
                      </a:r>
                      <a:r>
                        <a:rPr lang="en-US" sz="1000" u="none" strike="noStrike" dirty="0">
                          <a:effectLst/>
                        </a:rPr>
                        <a:t>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 </a:t>
                      </a:r>
                      <a:r>
                        <a:rPr lang="el-GR" sz="1000" u="none" strike="noStrike" dirty="0" smtClean="0">
                          <a:effectLst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267767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u="none" strike="noStrike" dirty="0" smtClean="0">
                          <a:effectLst/>
                        </a:rPr>
                        <a:t>17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1" u="none" strike="noStrike" dirty="0" smtClean="0">
                          <a:effectLst/>
                        </a:rPr>
                        <a:t>Νέα Υόρκη*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.122.585,18 €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8.122.585,18 €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 </a:t>
                      </a:r>
                      <a:r>
                        <a:rPr lang="el-GR" sz="1000" u="none" strike="noStrike" dirty="0" smtClean="0">
                          <a:effectLst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000" u="none" strike="noStrike" dirty="0" smtClean="0">
                          <a:effectLst/>
                        </a:rPr>
                        <a:t>-</a:t>
                      </a:r>
                      <a:r>
                        <a:rPr lang="en-US" sz="1000" u="none" strike="noStrike" dirty="0">
                          <a:effectLst/>
                        </a:rPr>
                        <a:t>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267767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u="none" strike="noStrike" dirty="0" smtClean="0">
                          <a:effectLst/>
                        </a:rPr>
                        <a:t>18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1" u="none" strike="noStrike" dirty="0" err="1" smtClean="0">
                          <a:effectLst/>
                        </a:rPr>
                        <a:t>Ουάσινγκτον</a:t>
                      </a:r>
                      <a:r>
                        <a:rPr lang="el-GR" sz="1000" b="1" u="none" strike="noStrike" dirty="0" smtClean="0">
                          <a:effectLst/>
                        </a:rPr>
                        <a:t>*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502.634,35 €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2.502.634,35 €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u="none" strike="noStrike" dirty="0" smtClean="0">
                          <a:effectLst/>
                        </a:rPr>
                        <a:t>-</a:t>
                      </a:r>
                      <a:r>
                        <a:rPr lang="en-US" sz="1000" u="none" strike="noStrike" dirty="0">
                          <a:effectLst/>
                        </a:rPr>
                        <a:t>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000" u="none" strike="noStrike" dirty="0" smtClean="0">
                          <a:effectLst/>
                        </a:rPr>
                        <a:t>-</a:t>
                      </a:r>
                      <a:r>
                        <a:rPr lang="en-US" sz="1000" u="none" strike="noStrike" dirty="0">
                          <a:effectLst/>
                        </a:rPr>
                        <a:t>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267767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u="none" strike="noStrike" dirty="0" smtClean="0">
                          <a:effectLst/>
                        </a:rPr>
                        <a:t>19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b="1" u="none" strike="noStrike" dirty="0" smtClean="0">
                          <a:effectLst/>
                        </a:rPr>
                        <a:t>Ειρηνοδικείο Μεσσήνης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30.000 </a:t>
                      </a:r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€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-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46.0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46.0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46.0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.000 </a:t>
                      </a:r>
                      <a:r>
                        <a:rPr lang="en-US" sz="1000" u="none" strike="noStrike" dirty="0" smtClean="0">
                          <a:effectLst/>
                        </a:rPr>
                        <a:t>€</a:t>
                      </a:r>
                      <a:r>
                        <a:rPr lang="el-GR" sz="1000" u="none" strike="noStrike" dirty="0" smtClean="0">
                          <a:effectLst/>
                        </a:rPr>
                        <a:t> μέχρι το 2020</a:t>
                      </a:r>
                      <a:endParaRPr lang="en-US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267767"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u="none" strike="noStrike" dirty="0" smtClean="0">
                          <a:effectLst/>
                        </a:rPr>
                        <a:t>Σύνολο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000" u="none" strike="noStrike" dirty="0" smtClean="0">
                          <a:effectLst/>
                        </a:rPr>
                        <a:t>42.322.720,11 </a:t>
                      </a:r>
                      <a:r>
                        <a:rPr lang="en-US" sz="1000" u="none" strike="noStrike" dirty="0" smtClean="0">
                          <a:effectLst/>
                        </a:rPr>
                        <a:t>€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2</a:t>
                      </a:r>
                      <a:r>
                        <a:rPr lang="el-GR" sz="1000" u="none" strike="noStrike" dirty="0" smtClean="0">
                          <a:effectLst/>
                        </a:rPr>
                        <a:t>2.869.919</a:t>
                      </a:r>
                      <a:r>
                        <a:rPr lang="en-US" sz="1000" u="none" strike="noStrike" dirty="0" smtClean="0">
                          <a:effectLst/>
                        </a:rPr>
                        <a:t>,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1</a:t>
                      </a:r>
                      <a:r>
                        <a:rPr lang="el-GR" sz="1000" u="none" strike="noStrike" dirty="0" smtClean="0">
                          <a:effectLst/>
                        </a:rPr>
                        <a:t>2</a:t>
                      </a:r>
                      <a:r>
                        <a:rPr lang="en-US" sz="1000" u="none" strike="noStrike" dirty="0" smtClean="0">
                          <a:effectLst/>
                        </a:rPr>
                        <a:t>.</a:t>
                      </a:r>
                      <a:r>
                        <a:rPr lang="el-GR" sz="1000" u="none" strike="noStrike" dirty="0" smtClean="0">
                          <a:effectLst/>
                        </a:rPr>
                        <a:t>158</a:t>
                      </a:r>
                      <a:r>
                        <a:rPr lang="en-US" sz="1000" u="none" strike="noStrike" dirty="0" smtClean="0">
                          <a:effectLst/>
                        </a:rPr>
                        <a:t>.519,53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1.</a:t>
                      </a:r>
                      <a:r>
                        <a:rPr lang="el-GR" sz="1000" u="none" strike="noStrike" dirty="0" smtClean="0">
                          <a:effectLst/>
                        </a:rPr>
                        <a:t>421</a:t>
                      </a:r>
                      <a:r>
                        <a:rPr lang="en-US" sz="1000" u="none" strike="noStrike" dirty="0" smtClean="0">
                          <a:effectLst/>
                        </a:rPr>
                        <a:t>.900,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smtClean="0">
                          <a:effectLst/>
                        </a:rPr>
                        <a:t>1.</a:t>
                      </a:r>
                      <a:r>
                        <a:rPr lang="el-GR" sz="1000" u="none" strike="noStrike" dirty="0" smtClean="0">
                          <a:effectLst/>
                        </a:rPr>
                        <a:t>402</a:t>
                      </a:r>
                      <a:r>
                        <a:rPr lang="en-US" sz="1000" u="none" strike="noStrike" dirty="0" smtClean="0">
                          <a:effectLst/>
                        </a:rPr>
                        <a:t>.900,00 </a:t>
                      </a:r>
                      <a:r>
                        <a:rPr lang="en-US" sz="1000" u="none" strike="noStrike" dirty="0">
                          <a:effectLst/>
                        </a:rPr>
                        <a:t>€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23.100,00</a:t>
                      </a:r>
                      <a:r>
                        <a:rPr lang="en-US" sz="1000" u="none" strike="noStrike" dirty="0" smtClean="0">
                          <a:effectLst/>
                        </a:rPr>
                        <a:t> €</a:t>
                      </a:r>
                      <a:endParaRPr lang="en-US" sz="1000" b="1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88259" y="6642847"/>
            <a:ext cx="51771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900" dirty="0" smtClean="0">
                <a:latin typeface="+mn-lt"/>
              </a:rPr>
              <a:t>* </a:t>
            </a:r>
            <a:r>
              <a:rPr lang="it-IT" sz="900" dirty="0" smtClean="0">
                <a:latin typeface="+mn-lt"/>
              </a:rPr>
              <a:t>1 </a:t>
            </a:r>
            <a:r>
              <a:rPr lang="it-IT" sz="900" dirty="0">
                <a:latin typeface="+mn-lt"/>
              </a:rPr>
              <a:t>EURO = 1,1388 USD (5/4/2016)</a:t>
            </a:r>
            <a:endParaRPr lang="el-GR" sz="9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621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26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ubl.j.UESdvm06b2U5F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DeoCyZ.k2G1QW7VStv1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CjKRWxgkC3SIIxkZI67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CjKRWxgkC3SIIxkZI67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CjKRWxgkC3SIIxkZI67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wlv1OkFEidobbdW6pCf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.LVJximSEed2yqAkrxus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FAq9o4RkiWtUHdBWl9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ubl.j.UESdvm06b2U5F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DeoCyZ.k2G1QW7VStv1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7JNwlAyUakbF7u3gLvc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CjKRWxgkC3SIIxkZI67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wlv1OkFEidobbdW6pCf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.LVJximSEed2yqAkrxu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FAq9o4RkiWtUHdBWl92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ubl.j.UESdvm06b2U5F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DeoCyZ.k2G1QW7VStv1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CjKRWxgkC3SIIxkZI67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wlv1OkFEidobbdW6pCf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.LVJximSEed2yqAkrxus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FAq9o4RkiWtUHdBWl9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teQcSMzki6OV7IVfM7k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ubl.j.UESdvm06b2U5F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DeoCyZ.k2G1QW7VStv1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CjKRWxgkC3SIIxkZI67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wlv1OkFEidobbdW6pCf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.LVJximSEed2yqAkrxus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FAq9o4RkiWtUHdBWl92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ubl.j.UESdvm06b2U5F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DeoCyZ.k2G1QW7VStv1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CjKRWxgkC3SIIxkZI67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wlv1OkFEidobbdW6pC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Qo_810OkyTO3mIK73Sc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.LVJximSEed2yqAkrxus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FAq9o4RkiWtUHdBWl92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ubl.j.UESdvm06b2U5F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DeoCyZ.k2G1QW7VStv1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CjKRWxgkC3SIIxkZI67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CW41wqLU.wi4SHjAaJr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4OHfzs_XUeuml9tdkI6j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wlv1OkFEidobbdW6pC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.LVJximSEed2yqAkrxus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FAq9o4RkiWtUHdBWl92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71</TotalTime>
  <Words>315</Words>
  <Application>Microsoft Office PowerPoint</Application>
  <PresentationFormat>Α4 (210x297 χιλ.)</PresentationFormat>
  <Paragraphs>168</Paragraphs>
  <Slides>1</Slides>
  <Notes>0</Notes>
  <HiddenSlides>0</HiddenSlides>
  <MMClips>0</MMClips>
  <ScaleCrop>false</ScaleCrop>
  <HeadingPairs>
    <vt:vector size="6" baseType="variant">
      <vt:variant>
        <vt:lpstr>Θέμα</vt:lpstr>
      </vt:variant>
      <vt:variant>
        <vt:i4>1</vt:i4>
      </vt:variant>
      <vt:variant>
        <vt:lpstr>Ενσωματωμένοι διακομιστές OLE</vt:lpstr>
      </vt:variant>
      <vt:variant>
        <vt:i4>1</vt:i4>
      </vt:variant>
      <vt:variant>
        <vt:lpstr>Τίτλοι διαφανειών</vt:lpstr>
      </vt:variant>
      <vt:variant>
        <vt:i4>1</vt:i4>
      </vt:variant>
    </vt:vector>
  </HeadingPairs>
  <TitlesOfParts>
    <vt:vector size="3" baseType="lpstr">
      <vt:lpstr>Office Theme</vt:lpstr>
      <vt:lpstr>think-cell Slide</vt:lpstr>
      <vt:lpstr>Διαφάνεια 1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gmakripidis</dc:creator>
  <cp:lastModifiedBy>Microsoft</cp:lastModifiedBy>
  <cp:revision>3185</cp:revision>
  <cp:lastPrinted>2014-03-12T08:13:07Z</cp:lastPrinted>
  <dcterms:created xsi:type="dcterms:W3CDTF">2009-10-01T09:26:44Z</dcterms:created>
  <dcterms:modified xsi:type="dcterms:W3CDTF">2016-06-05T23:39:34Z</dcterms:modified>
</cp:coreProperties>
</file>